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1" r:id="rId4"/>
    <p:sldMasterId id="2147483708" r:id="rId5"/>
  </p:sldMasterIdLst>
  <p:notesMasterIdLst>
    <p:notesMasterId r:id="rId16"/>
  </p:notesMasterIdLst>
  <p:handoutMasterIdLst>
    <p:handoutMasterId r:id="rId17"/>
  </p:handoutMasterIdLst>
  <p:sldIdLst>
    <p:sldId id="280" r:id="rId6"/>
    <p:sldId id="366" r:id="rId7"/>
    <p:sldId id="386" r:id="rId8"/>
    <p:sldId id="377" r:id="rId9"/>
    <p:sldId id="384" r:id="rId10"/>
    <p:sldId id="379" r:id="rId11"/>
    <p:sldId id="380" r:id="rId12"/>
    <p:sldId id="381" r:id="rId13"/>
    <p:sldId id="382" r:id="rId14"/>
    <p:sldId id="288" r:id="rId15"/>
  </p:sldIdLst>
  <p:sldSz cx="17337088" cy="975201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460" userDrawn="1">
          <p15:clr>
            <a:srgbClr val="A4A3A4"/>
          </p15:clr>
        </p15:guide>
        <p15:guide id="2" orient="horz" pos="3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dro Ávila" initials="PÁ" lastIdx="5" clrIdx="0">
    <p:extLst>
      <p:ext uri="{19B8F6BF-5375-455C-9EA6-DF929625EA0E}">
        <p15:presenceInfo xmlns:p15="http://schemas.microsoft.com/office/powerpoint/2012/main" userId="S-1-5-21-2793613250-3247132780-1158658720-42216" providerId="AD"/>
      </p:ext>
    </p:extLst>
  </p:cmAuthor>
  <p:cmAuthor id="2" name="Pedro Carola" initials="PC" lastIdx="1" clrIdx="1">
    <p:extLst>
      <p:ext uri="{19B8F6BF-5375-455C-9EA6-DF929625EA0E}">
        <p15:presenceInfo xmlns:p15="http://schemas.microsoft.com/office/powerpoint/2012/main" userId="S-1-5-21-2793613250-3247132780-1158658720-1413" providerId="AD"/>
      </p:ext>
    </p:extLst>
  </p:cmAuthor>
  <p:cmAuthor id="3" name="Bruno Henrique Santos" initials="BHS" lastIdx="1" clrIdx="2">
    <p:extLst>
      <p:ext uri="{19B8F6BF-5375-455C-9EA6-DF929625EA0E}">
        <p15:presenceInfo xmlns:p15="http://schemas.microsoft.com/office/powerpoint/2012/main" userId="Bruno Henrique Santos" providerId="None"/>
      </p:ext>
    </p:extLst>
  </p:cmAuthor>
  <p:cmAuthor id="4" name="Ricardo Pereira" initials="RP" lastIdx="6" clrIdx="3">
    <p:extLst>
      <p:ext uri="{19B8F6BF-5375-455C-9EA6-DF929625EA0E}">
        <p15:presenceInfo xmlns:p15="http://schemas.microsoft.com/office/powerpoint/2012/main" userId="S-1-5-21-2793613250-3247132780-1158658720-158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B491"/>
    <a:srgbClr val="FFFFFF"/>
    <a:srgbClr val="1C85BA"/>
    <a:srgbClr val="D7FF9B"/>
    <a:srgbClr val="8EBD3D"/>
    <a:srgbClr val="E9FFC9"/>
    <a:srgbClr val="A6FF97"/>
    <a:srgbClr val="3C95C2"/>
    <a:srgbClr val="1E96D3"/>
    <a:srgbClr val="3778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5B9548-DC6A-437D-A617-943B25479C8B}" v="188" dt="2022-02-24T16:14:29.014"/>
    <p1510:client id="{FD7F3822-10DB-49AC-9DB3-21392AD4548A}" v="1" dt="2022-02-24T22:10:29.388"/>
    <p1510:client id="{82BAE55B-0650-43A5-8325-14797CC19770}" v="4" dt="2022-02-18T10:18:52.943"/>
    <p1510:client id="{48204D87-C9C2-436D-9A57-3B5489736E14}" v="42" dt="2021-10-07T10:39:21.298"/>
    <p1510:client id="{80ED01E2-8CA1-4CF8-B64E-AAA42AAF8A1A}" v="10" dt="2022-03-08T14:43:27.079"/>
    <p1510:client id="{926681BF-F158-4A5A-B25D-2237612D9189}" v="8" dt="2022-02-24T22:19:22.744"/>
    <p1510:client id="{AFC0F5E0-F111-4334-B6B2-B82366259FC9}" v="10" dt="2022-02-23T16:23:05.804"/>
    <p1510:client id="{511FD2FF-ADD3-46FB-8FE9-618228240516}" v="90" dt="2022-03-08T15:44:06.473"/>
    <p1510:client id="{6CEA78A6-5F8E-4593-A78A-9E739213F3BB}" v="4" dt="2022-03-08T23:01:03.135"/>
    <p1510:client id="{929AC954-D24B-4D2B-ACAE-78ED6A5A446D}" v="16" dt="2022-02-17T16:48:05.192"/>
    <p1510:client id="{96EEE53C-E225-4084-809A-B21AE7530DB7}" v="1" dt="2022-02-24T21:51:20.051"/>
    <p1510:client id="{A0BAACB9-5968-6C40-FAFE-6237832F0E51}" v="3" dt="2022-02-24T22:20:20.823"/>
    <p1510:client id="{A8DB4CB5-B073-AB4D-3A0A-C26D6E50321B}" v="15" dt="2022-02-24T22:02:14.164"/>
    <p1510:client id="{B8D85E7F-5AB3-478B-AA56-164F6A0CF4CE}" v="32" dt="2022-03-08T23:03:40.719"/>
    <p1510:client id="{C68679A7-C3A1-4C24-B9B0-BCA28A67953B}" v="218" dt="2022-02-17T19:14:55.963"/>
    <p1510:client id="{C781D8E8-7C71-4D4E-A504-771ACB8FF46A}" v="3" dt="2022-03-08T22:58:10.743"/>
    <p1510:client id="{D82D081A-A341-4FAB-AA92-E68B2179FA06}" v="2" dt="2022-03-08T22:56:36.479"/>
    <p1510:client id="{E011E1F1-87BB-4F86-93E9-A88D7B806D9E}" v="176" dt="2022-03-08T11:55:35.206"/>
    <p1510:client id="{F9E30D16-8C1C-4C8F-894F-CDEC1CE175EF}" v="22" dt="2022-03-03T17:08:28.5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8953" autoAdjust="0"/>
  </p:normalViewPr>
  <p:slideViewPr>
    <p:cSldViewPr snapToGrid="0">
      <p:cViewPr varScale="1">
        <p:scale>
          <a:sx n="52" d="100"/>
          <a:sy n="52" d="100"/>
        </p:scale>
        <p:origin x="245" y="48"/>
      </p:cViewPr>
      <p:guideLst>
        <p:guide pos="5460"/>
        <p:guide orient="horz" pos="307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i Bessa" userId="S::rui.bessa@ren.pt::feef82f2-0637-4b34-baf0-4b7f7cd809d0" providerId="AD" clId="Web-{96EEE53C-E225-4084-809A-B21AE7530DB7}"/>
    <pc:docChg chg="addSld">
      <pc:chgData name="Rui Bessa" userId="S::rui.bessa@ren.pt::feef82f2-0637-4b34-baf0-4b7f7cd809d0" providerId="AD" clId="Web-{96EEE53C-E225-4084-809A-B21AE7530DB7}" dt="2022-02-24T21:51:20.051" v="0"/>
      <pc:docMkLst>
        <pc:docMk/>
      </pc:docMkLst>
      <pc:sldChg chg="add replId">
        <pc:chgData name="Rui Bessa" userId="S::rui.bessa@ren.pt::feef82f2-0637-4b34-baf0-4b7f7cd809d0" providerId="AD" clId="Web-{96EEE53C-E225-4084-809A-B21AE7530DB7}" dt="2022-02-24T21:51:20.051" v="0"/>
        <pc:sldMkLst>
          <pc:docMk/>
          <pc:sldMk cId="319375459" sldId="328"/>
        </pc:sldMkLst>
      </pc:sldChg>
    </pc:docChg>
  </pc:docChgLst>
  <pc:docChgLst>
    <pc:chgData name="Ricardo Pereira" userId="S::ricardo.pereira@ren.pt::775efc82-b5b9-4fa7-8433-f27281ac45e9" providerId="AD" clId="Web-{F9E30D16-8C1C-4C8F-894F-CDEC1CE175EF}"/>
    <pc:docChg chg="modSld">
      <pc:chgData name="Ricardo Pereira" userId="S::ricardo.pereira@ren.pt::775efc82-b5b9-4fa7-8433-f27281ac45e9" providerId="AD" clId="Web-{F9E30D16-8C1C-4C8F-894F-CDEC1CE175EF}" dt="2022-03-03T17:08:26.990" v="7" actId="20577"/>
      <pc:docMkLst>
        <pc:docMk/>
      </pc:docMkLst>
      <pc:sldChg chg="modSp">
        <pc:chgData name="Ricardo Pereira" userId="S::ricardo.pereira@ren.pt::775efc82-b5b9-4fa7-8433-f27281ac45e9" providerId="AD" clId="Web-{F9E30D16-8C1C-4C8F-894F-CDEC1CE175EF}" dt="2022-03-03T17:08:26.990" v="7" actId="20577"/>
        <pc:sldMkLst>
          <pc:docMk/>
          <pc:sldMk cId="100609525" sldId="280"/>
        </pc:sldMkLst>
        <pc:spChg chg="mod">
          <ac:chgData name="Ricardo Pereira" userId="S::ricardo.pereira@ren.pt::775efc82-b5b9-4fa7-8433-f27281ac45e9" providerId="AD" clId="Web-{F9E30D16-8C1C-4C8F-894F-CDEC1CE175EF}" dt="2022-03-03T17:08:22.146" v="5" actId="20577"/>
          <ac:spMkLst>
            <pc:docMk/>
            <pc:sldMk cId="100609525" sldId="280"/>
            <ac:spMk id="5" creationId="{00000000-0000-0000-0000-000000000000}"/>
          </ac:spMkLst>
        </pc:spChg>
        <pc:spChg chg="mod">
          <ac:chgData name="Ricardo Pereira" userId="S::ricardo.pereira@ren.pt::775efc82-b5b9-4fa7-8433-f27281ac45e9" providerId="AD" clId="Web-{F9E30D16-8C1C-4C8F-894F-CDEC1CE175EF}" dt="2022-03-03T17:08:26.990" v="7" actId="20577"/>
          <ac:spMkLst>
            <pc:docMk/>
            <pc:sldMk cId="100609525" sldId="280"/>
            <ac:spMk id="6" creationId="{00000000-0000-0000-0000-000000000000}"/>
          </ac:spMkLst>
        </pc:spChg>
        <pc:spChg chg="mod">
          <ac:chgData name="Ricardo Pereira" userId="S::ricardo.pereira@ren.pt::775efc82-b5b9-4fa7-8433-f27281ac45e9" providerId="AD" clId="Web-{F9E30D16-8C1C-4C8F-894F-CDEC1CE175EF}" dt="2022-03-03T17:08:17.364" v="1" actId="20577"/>
          <ac:spMkLst>
            <pc:docMk/>
            <pc:sldMk cId="100609525" sldId="280"/>
            <ac:spMk id="11" creationId="{00000000-0000-0000-0000-000000000000}"/>
          </ac:spMkLst>
        </pc:spChg>
      </pc:sldChg>
    </pc:docChg>
  </pc:docChgLst>
  <pc:docChgLst>
    <pc:chgData name="Bruno Henrique Santos" userId="S::brunohenrique.santos@ren.pt::9abfd3d4-60a7-47ae-be04-0fb055c7a8be" providerId="AD" clId="Web-{C68679A7-C3A1-4C24-B9B0-BCA28A67953B}"/>
    <pc:docChg chg="modSld">
      <pc:chgData name="Bruno Henrique Santos" userId="S::brunohenrique.santos@ren.pt::9abfd3d4-60a7-47ae-be04-0fb055c7a8be" providerId="AD" clId="Web-{C68679A7-C3A1-4C24-B9B0-BCA28A67953B}" dt="2022-02-17T19:14:55.604" v="102" actId="1076"/>
      <pc:docMkLst>
        <pc:docMk/>
      </pc:docMkLst>
      <pc:sldChg chg="modSp">
        <pc:chgData name="Bruno Henrique Santos" userId="S::brunohenrique.santos@ren.pt::9abfd3d4-60a7-47ae-be04-0fb055c7a8be" providerId="AD" clId="Web-{C68679A7-C3A1-4C24-B9B0-BCA28A67953B}" dt="2022-02-17T19:14:55.604" v="102" actId="1076"/>
        <pc:sldMkLst>
          <pc:docMk/>
          <pc:sldMk cId="3553975787" sldId="310"/>
        </pc:sldMkLst>
        <pc:spChg chg="mod">
          <ac:chgData name="Bruno Henrique Santos" userId="S::brunohenrique.santos@ren.pt::9abfd3d4-60a7-47ae-be04-0fb055c7a8be" providerId="AD" clId="Web-{C68679A7-C3A1-4C24-B9B0-BCA28A67953B}" dt="2022-02-17T19:14:55.604" v="102" actId="1076"/>
          <ac:spMkLst>
            <pc:docMk/>
            <pc:sldMk cId="3553975787" sldId="310"/>
            <ac:spMk id="55" creationId="{00000000-0000-0000-0000-000000000000}"/>
          </ac:spMkLst>
        </pc:spChg>
      </pc:sldChg>
    </pc:docChg>
  </pc:docChgLst>
  <pc:docChgLst>
    <pc:chgData name="João Lemos Pinto" userId="S::joao.pinto@ren.pt::86bb1e8f-21fa-4dc7-8876-0d9c6b17ac3a" providerId="AD" clId="Web-{511FD2FF-ADD3-46FB-8FE9-618228240516}"/>
    <pc:docChg chg="modSld">
      <pc:chgData name="João Lemos Pinto" userId="S::joao.pinto@ren.pt::86bb1e8f-21fa-4dc7-8876-0d9c6b17ac3a" providerId="AD" clId="Web-{511FD2FF-ADD3-46FB-8FE9-618228240516}" dt="2022-03-08T15:44:03.864" v="120" actId="20577"/>
      <pc:docMkLst>
        <pc:docMk/>
      </pc:docMkLst>
      <pc:sldChg chg="modSp modNotes">
        <pc:chgData name="João Lemos Pinto" userId="S::joao.pinto@ren.pt::86bb1e8f-21fa-4dc7-8876-0d9c6b17ac3a" providerId="AD" clId="Web-{511FD2FF-ADD3-46FB-8FE9-618228240516}" dt="2022-03-08T15:44:03.864" v="120" actId="20577"/>
        <pc:sldMkLst>
          <pc:docMk/>
          <pc:sldMk cId="1886472654" sldId="355"/>
        </pc:sldMkLst>
        <pc:spChg chg="mod">
          <ac:chgData name="João Lemos Pinto" userId="S::joao.pinto@ren.pt::86bb1e8f-21fa-4dc7-8876-0d9c6b17ac3a" providerId="AD" clId="Web-{511FD2FF-ADD3-46FB-8FE9-618228240516}" dt="2022-03-08T15:38:37.126" v="100" actId="20577"/>
          <ac:spMkLst>
            <pc:docMk/>
            <pc:sldMk cId="1886472654" sldId="355"/>
            <ac:spMk id="4" creationId="{53D06A10-A6CB-453E-BED3-DD6463165C11}"/>
          </ac:spMkLst>
        </pc:spChg>
        <pc:spChg chg="mod">
          <ac:chgData name="João Lemos Pinto" userId="S::joao.pinto@ren.pt::86bb1e8f-21fa-4dc7-8876-0d9c6b17ac3a" providerId="AD" clId="Web-{511FD2FF-ADD3-46FB-8FE9-618228240516}" dt="2022-03-08T15:44:03.864" v="120" actId="20577"/>
          <ac:spMkLst>
            <pc:docMk/>
            <pc:sldMk cId="1886472654" sldId="355"/>
            <ac:spMk id="75" creationId="{00000000-0000-0000-0000-000000000000}"/>
          </ac:spMkLst>
        </pc:spChg>
      </pc:sldChg>
    </pc:docChg>
  </pc:docChgLst>
  <pc:docChgLst>
    <pc:chgData name="João Lemos Pinto" userId="S::joao.pinto@ren.pt::86bb1e8f-21fa-4dc7-8876-0d9c6b17ac3a" providerId="AD" clId="Web-{E011E1F1-87BB-4F86-93E9-A88D7B806D9E}"/>
    <pc:docChg chg="modSld">
      <pc:chgData name="João Lemos Pinto" userId="S::joao.pinto@ren.pt::86bb1e8f-21fa-4dc7-8876-0d9c6b17ac3a" providerId="AD" clId="Web-{E011E1F1-87BB-4F86-93E9-A88D7B806D9E}" dt="2022-03-08T11:55:47.332" v="431"/>
      <pc:docMkLst>
        <pc:docMk/>
      </pc:docMkLst>
      <pc:sldChg chg="addSp delSp modSp modNotes">
        <pc:chgData name="João Lemos Pinto" userId="S::joao.pinto@ren.pt::86bb1e8f-21fa-4dc7-8876-0d9c6b17ac3a" providerId="AD" clId="Web-{E011E1F1-87BB-4F86-93E9-A88D7B806D9E}" dt="2022-03-08T11:55:47.332" v="431"/>
        <pc:sldMkLst>
          <pc:docMk/>
          <pc:sldMk cId="1886472654" sldId="355"/>
        </pc:sldMkLst>
        <pc:spChg chg="add mod">
          <ac:chgData name="João Lemos Pinto" userId="S::joao.pinto@ren.pt::86bb1e8f-21fa-4dc7-8876-0d9c6b17ac3a" providerId="AD" clId="Web-{E011E1F1-87BB-4F86-93E9-A88D7B806D9E}" dt="2022-03-08T11:55:35.206" v="427" actId="20577"/>
          <ac:spMkLst>
            <pc:docMk/>
            <pc:sldMk cId="1886472654" sldId="355"/>
            <ac:spMk id="4" creationId="{53D06A10-A6CB-453E-BED3-DD6463165C11}"/>
          </ac:spMkLst>
        </pc:spChg>
        <pc:spChg chg="mod">
          <ac:chgData name="João Lemos Pinto" userId="S::joao.pinto@ren.pt::86bb1e8f-21fa-4dc7-8876-0d9c6b17ac3a" providerId="AD" clId="Web-{E011E1F1-87BB-4F86-93E9-A88D7B806D9E}" dt="2022-03-08T11:14:28.055" v="14" actId="20577"/>
          <ac:spMkLst>
            <pc:docMk/>
            <pc:sldMk cId="1886472654" sldId="355"/>
            <ac:spMk id="75" creationId="{00000000-0000-0000-0000-000000000000}"/>
          </ac:spMkLst>
        </pc:spChg>
        <pc:graphicFrameChg chg="mod">
          <ac:chgData name="João Lemos Pinto" userId="S::joao.pinto@ren.pt::86bb1e8f-21fa-4dc7-8876-0d9c6b17ac3a" providerId="AD" clId="Web-{E011E1F1-87BB-4F86-93E9-A88D7B806D9E}" dt="2022-03-08T11:21:47.503" v="131" actId="1076"/>
          <ac:graphicFrameMkLst>
            <pc:docMk/>
            <pc:sldMk cId="1886472654" sldId="355"/>
            <ac:graphicFrameMk id="2" creationId="{00000000-0000-0000-0000-000000000000}"/>
          </ac:graphicFrameMkLst>
        </pc:graphicFrameChg>
        <pc:picChg chg="add del mod">
          <ac:chgData name="João Lemos Pinto" userId="S::joao.pinto@ren.pt::86bb1e8f-21fa-4dc7-8876-0d9c6b17ac3a" providerId="AD" clId="Web-{E011E1F1-87BB-4F86-93E9-A88D7B806D9E}" dt="2022-03-08T11:21:10.783" v="123"/>
          <ac:picMkLst>
            <pc:docMk/>
            <pc:sldMk cId="1886472654" sldId="355"/>
            <ac:picMk id="3" creationId="{B382C641-116C-485B-8496-579A0C24C311}"/>
          </ac:picMkLst>
        </pc:picChg>
      </pc:sldChg>
    </pc:docChg>
  </pc:docChgLst>
  <pc:docChgLst>
    <pc:chgData name="Rui Bessa" userId="S::rui.bessa@ren.pt::feef82f2-0637-4b34-baf0-4b7f7cd809d0" providerId="AD" clId="Web-{A0BAACB9-5968-6C40-FAFE-6237832F0E51}"/>
    <pc:docChg chg="modSld">
      <pc:chgData name="Rui Bessa" userId="S::rui.bessa@ren.pt::feef82f2-0637-4b34-baf0-4b7f7cd809d0" providerId="AD" clId="Web-{A0BAACB9-5968-6C40-FAFE-6237832F0E51}" dt="2022-02-24T22:20:20.823" v="1"/>
      <pc:docMkLst>
        <pc:docMk/>
      </pc:docMkLst>
      <pc:sldChg chg="addSp delSp modSp">
        <pc:chgData name="Rui Bessa" userId="S::rui.bessa@ren.pt::feef82f2-0637-4b34-baf0-4b7f7cd809d0" providerId="AD" clId="Web-{A0BAACB9-5968-6C40-FAFE-6237832F0E51}" dt="2022-02-24T22:20:20.823" v="1"/>
        <pc:sldMkLst>
          <pc:docMk/>
          <pc:sldMk cId="134377911" sldId="332"/>
        </pc:sldMkLst>
        <pc:picChg chg="add del mod">
          <ac:chgData name="Rui Bessa" userId="S::rui.bessa@ren.pt::feef82f2-0637-4b34-baf0-4b7f7cd809d0" providerId="AD" clId="Web-{A0BAACB9-5968-6C40-FAFE-6237832F0E51}" dt="2022-02-24T22:20:20.823" v="1"/>
          <ac:picMkLst>
            <pc:docMk/>
            <pc:sldMk cId="134377911" sldId="332"/>
            <ac:picMk id="2" creationId="{EDB0DBD2-D380-4C74-B23E-09975B819C62}"/>
          </ac:picMkLst>
        </pc:picChg>
      </pc:sldChg>
    </pc:docChg>
  </pc:docChgLst>
  <pc:docChgLst>
    <pc:chgData name="Paulo Ferreira" userId="S::paulo.ferreira@rengasodutos.pt::ded87fe8-ecd7-461f-b7ad-7b771b811a68" providerId="AD" clId="Web-{C781D8E8-7C71-4D4E-A504-771ACB8FF46A}"/>
    <pc:docChg chg="addSld modSld">
      <pc:chgData name="Paulo Ferreira" userId="S::paulo.ferreira@rengasodutos.pt::ded87fe8-ecd7-461f-b7ad-7b771b811a68" providerId="AD" clId="Web-{C781D8E8-7C71-4D4E-A504-771ACB8FF46A}" dt="2022-03-08T22:58:09.852" v="1"/>
      <pc:docMkLst>
        <pc:docMk/>
      </pc:docMkLst>
      <pc:sldChg chg="addSp modSp new">
        <pc:chgData name="Paulo Ferreira" userId="S::paulo.ferreira@rengasodutos.pt::ded87fe8-ecd7-461f-b7ad-7b771b811a68" providerId="AD" clId="Web-{C781D8E8-7C71-4D4E-A504-771ACB8FF46A}" dt="2022-03-08T22:58:09.852" v="1"/>
        <pc:sldMkLst>
          <pc:docMk/>
          <pc:sldMk cId="4221202459" sldId="367"/>
        </pc:sldMkLst>
        <pc:picChg chg="add mod">
          <ac:chgData name="Paulo Ferreira" userId="S::paulo.ferreira@rengasodutos.pt::ded87fe8-ecd7-461f-b7ad-7b771b811a68" providerId="AD" clId="Web-{C781D8E8-7C71-4D4E-A504-771ACB8FF46A}" dt="2022-03-08T22:58:09.852" v="1"/>
          <ac:picMkLst>
            <pc:docMk/>
            <pc:sldMk cId="4221202459" sldId="367"/>
            <ac:picMk id="2" creationId="{7AEBDA94-FC48-4398-9166-B23937EA20F8}"/>
          </ac:picMkLst>
        </pc:picChg>
      </pc:sldChg>
    </pc:docChg>
  </pc:docChgLst>
  <pc:docChgLst>
    <pc:chgData name="Paulo Ferreira" userId="S::paulo.ferreira@rengasodutos.pt::ded87fe8-ecd7-461f-b7ad-7b771b811a68" providerId="AD" clId="Web-{80ED01E2-8CA1-4CF8-B64E-AAA42AAF8A1A}"/>
    <pc:docChg chg="modSld">
      <pc:chgData name="Paulo Ferreira" userId="S::paulo.ferreira@rengasodutos.pt::ded87fe8-ecd7-461f-b7ad-7b771b811a68" providerId="AD" clId="Web-{80ED01E2-8CA1-4CF8-B64E-AAA42AAF8A1A}" dt="2022-03-08T14:43:27.079" v="9"/>
      <pc:docMkLst>
        <pc:docMk/>
      </pc:docMkLst>
      <pc:sldChg chg="addSp delSp modSp">
        <pc:chgData name="Paulo Ferreira" userId="S::paulo.ferreira@rengasodutos.pt::ded87fe8-ecd7-461f-b7ad-7b771b811a68" providerId="AD" clId="Web-{80ED01E2-8CA1-4CF8-B64E-AAA42AAF8A1A}" dt="2022-03-08T14:43:27.079" v="9"/>
        <pc:sldMkLst>
          <pc:docMk/>
          <pc:sldMk cId="3360824451" sldId="359"/>
        </pc:sldMkLst>
        <pc:spChg chg="add del mod">
          <ac:chgData name="Paulo Ferreira" userId="S::paulo.ferreira@rengasodutos.pt::ded87fe8-ecd7-461f-b7ad-7b771b811a68" providerId="AD" clId="Web-{80ED01E2-8CA1-4CF8-B64E-AAA42AAF8A1A}" dt="2022-03-08T14:43:10.781" v="3"/>
          <ac:spMkLst>
            <pc:docMk/>
            <pc:sldMk cId="3360824451" sldId="359"/>
            <ac:spMk id="2" creationId="{84F4B20C-950A-403E-9933-658E6426B94B}"/>
          </ac:spMkLst>
        </pc:spChg>
        <pc:spChg chg="add">
          <ac:chgData name="Paulo Ferreira" userId="S::paulo.ferreira@rengasodutos.pt::ded87fe8-ecd7-461f-b7ad-7b771b811a68" providerId="AD" clId="Web-{80ED01E2-8CA1-4CF8-B64E-AAA42AAF8A1A}" dt="2022-03-08T14:43:25.610" v="5"/>
          <ac:spMkLst>
            <pc:docMk/>
            <pc:sldMk cId="3360824451" sldId="359"/>
            <ac:spMk id="4" creationId="{6F0EB5BB-E423-49AC-9BC1-31AD40B82FD7}"/>
          </ac:spMkLst>
        </pc:spChg>
        <pc:spChg chg="add">
          <ac:chgData name="Paulo Ferreira" userId="S::paulo.ferreira@rengasodutos.pt::ded87fe8-ecd7-461f-b7ad-7b771b811a68" providerId="AD" clId="Web-{80ED01E2-8CA1-4CF8-B64E-AAA42AAF8A1A}" dt="2022-03-08T14:43:27.079" v="9"/>
          <ac:spMkLst>
            <pc:docMk/>
            <pc:sldMk cId="3360824451" sldId="359"/>
            <ac:spMk id="24" creationId="{600DE9F3-D302-4B87-BB59-D124D1D647AE}"/>
          </ac:spMkLst>
        </pc:spChg>
        <pc:grpChg chg="add">
          <ac:chgData name="Paulo Ferreira" userId="S::paulo.ferreira@rengasodutos.pt::ded87fe8-ecd7-461f-b7ad-7b771b811a68" providerId="AD" clId="Web-{80ED01E2-8CA1-4CF8-B64E-AAA42AAF8A1A}" dt="2022-03-08T14:43:25.594" v="4"/>
          <ac:grpSpMkLst>
            <pc:docMk/>
            <pc:sldMk cId="3360824451" sldId="359"/>
            <ac:grpSpMk id="3" creationId="{8BC1B724-BB39-4971-84B7-58D3974F90B6}"/>
          </ac:grpSpMkLst>
        </pc:grpChg>
        <pc:grpChg chg="add">
          <ac:chgData name="Paulo Ferreira" userId="S::paulo.ferreira@rengasodutos.pt::ded87fe8-ecd7-461f-b7ad-7b771b811a68" providerId="AD" clId="Web-{80ED01E2-8CA1-4CF8-B64E-AAA42AAF8A1A}" dt="2022-03-08T14:43:25.626" v="6"/>
          <ac:grpSpMkLst>
            <pc:docMk/>
            <pc:sldMk cId="3360824451" sldId="359"/>
            <ac:grpSpMk id="5" creationId="{A4673DAF-E29C-4471-AA9B-251C3F4577C7}"/>
          </ac:grpSpMkLst>
        </pc:grpChg>
        <pc:grpChg chg="add">
          <ac:chgData name="Paulo Ferreira" userId="S::paulo.ferreira@rengasodutos.pt::ded87fe8-ecd7-461f-b7ad-7b771b811a68" providerId="AD" clId="Web-{80ED01E2-8CA1-4CF8-B64E-AAA42AAF8A1A}" dt="2022-03-08T14:43:25.641" v="7"/>
          <ac:grpSpMkLst>
            <pc:docMk/>
            <pc:sldMk cId="3360824451" sldId="359"/>
            <ac:grpSpMk id="6" creationId="{25EACCFA-D0DF-4A4C-8477-9F687EB29B32}"/>
          </ac:grpSpMkLst>
        </pc:grpChg>
        <pc:grpChg chg="add">
          <ac:chgData name="Paulo Ferreira" userId="S::paulo.ferreira@rengasodutos.pt::ded87fe8-ecd7-461f-b7ad-7b771b811a68" providerId="AD" clId="Web-{80ED01E2-8CA1-4CF8-B64E-AAA42AAF8A1A}" dt="2022-03-08T14:43:25.704" v="8"/>
          <ac:grpSpMkLst>
            <pc:docMk/>
            <pc:sldMk cId="3360824451" sldId="359"/>
            <ac:grpSpMk id="20" creationId="{6A9C7C5E-290F-44CE-AEE9-C9D7832784BB}"/>
          </ac:grpSpMkLst>
        </pc:grpChg>
      </pc:sldChg>
    </pc:docChg>
  </pc:docChgLst>
  <pc:docChgLst>
    <pc:chgData name="Rui Bessa" userId="S::rui.bessa@ren.pt::feef82f2-0637-4b34-baf0-4b7f7cd809d0" providerId="AD" clId="Web-{A8DB4CB5-B073-AB4D-3A0A-C26D6E50321B}"/>
    <pc:docChg chg="modSld">
      <pc:chgData name="Rui Bessa" userId="S::rui.bessa@ren.pt::feef82f2-0637-4b34-baf0-4b7f7cd809d0" providerId="AD" clId="Web-{A8DB4CB5-B073-AB4D-3A0A-C26D6E50321B}" dt="2022-02-24T22:02:14.164" v="12"/>
      <pc:docMkLst>
        <pc:docMk/>
      </pc:docMkLst>
      <pc:sldChg chg="addSp delSp modSp">
        <pc:chgData name="Rui Bessa" userId="S::rui.bessa@ren.pt::feef82f2-0637-4b34-baf0-4b7f7cd809d0" providerId="AD" clId="Web-{A8DB4CB5-B073-AB4D-3A0A-C26D6E50321B}" dt="2022-02-24T22:02:14.164" v="12"/>
        <pc:sldMkLst>
          <pc:docMk/>
          <pc:sldMk cId="319375459" sldId="328"/>
        </pc:sldMkLst>
        <pc:spChg chg="del">
          <ac:chgData name="Rui Bessa" userId="S::rui.bessa@ren.pt::feef82f2-0637-4b34-baf0-4b7f7cd809d0" providerId="AD" clId="Web-{A8DB4CB5-B073-AB4D-3A0A-C26D6E50321B}" dt="2022-02-24T22:01:45.460" v="2"/>
          <ac:spMkLst>
            <pc:docMk/>
            <pc:sldMk cId="319375459" sldId="328"/>
            <ac:spMk id="2" creationId="{00000000-0000-0000-0000-000000000000}"/>
          </ac:spMkLst>
        </pc:spChg>
        <pc:spChg chg="del">
          <ac:chgData name="Rui Bessa" userId="S::rui.bessa@ren.pt::feef82f2-0637-4b34-baf0-4b7f7cd809d0" providerId="AD" clId="Web-{A8DB4CB5-B073-AB4D-3A0A-C26D6E50321B}" dt="2022-02-24T22:01:45.460" v="10"/>
          <ac:spMkLst>
            <pc:docMk/>
            <pc:sldMk cId="319375459" sldId="328"/>
            <ac:spMk id="9" creationId="{00000000-0000-0000-0000-000000000000}"/>
          </ac:spMkLst>
        </pc:spChg>
        <pc:spChg chg="del">
          <ac:chgData name="Rui Bessa" userId="S::rui.bessa@ren.pt::feef82f2-0637-4b34-baf0-4b7f7cd809d0" providerId="AD" clId="Web-{A8DB4CB5-B073-AB4D-3A0A-C26D6E50321B}" dt="2022-02-24T22:01:45.460" v="9"/>
          <ac:spMkLst>
            <pc:docMk/>
            <pc:sldMk cId="319375459" sldId="328"/>
            <ac:spMk id="10" creationId="{00000000-0000-0000-0000-000000000000}"/>
          </ac:spMkLst>
        </pc:spChg>
        <pc:spChg chg="del">
          <ac:chgData name="Rui Bessa" userId="S::rui.bessa@ren.pt::feef82f2-0637-4b34-baf0-4b7f7cd809d0" providerId="AD" clId="Web-{A8DB4CB5-B073-AB4D-3A0A-C26D6E50321B}" dt="2022-02-24T22:01:45.460" v="8"/>
          <ac:spMkLst>
            <pc:docMk/>
            <pc:sldMk cId="319375459" sldId="328"/>
            <ac:spMk id="13" creationId="{00000000-0000-0000-0000-000000000000}"/>
          </ac:spMkLst>
        </pc:spChg>
        <pc:spChg chg="del">
          <ac:chgData name="Rui Bessa" userId="S::rui.bessa@ren.pt::feef82f2-0637-4b34-baf0-4b7f7cd809d0" providerId="AD" clId="Web-{A8DB4CB5-B073-AB4D-3A0A-C26D6E50321B}" dt="2022-02-24T22:01:45.460" v="7"/>
          <ac:spMkLst>
            <pc:docMk/>
            <pc:sldMk cId="319375459" sldId="328"/>
            <ac:spMk id="14" creationId="{00000000-0000-0000-0000-000000000000}"/>
          </ac:spMkLst>
        </pc:spChg>
        <pc:spChg chg="del">
          <ac:chgData name="Rui Bessa" userId="S::rui.bessa@ren.pt::feef82f2-0637-4b34-baf0-4b7f7cd809d0" providerId="AD" clId="Web-{A8DB4CB5-B073-AB4D-3A0A-C26D6E50321B}" dt="2022-02-24T22:01:45.460" v="6"/>
          <ac:spMkLst>
            <pc:docMk/>
            <pc:sldMk cId="319375459" sldId="328"/>
            <ac:spMk id="15" creationId="{00000000-0000-0000-0000-000000000000}"/>
          </ac:spMkLst>
        </pc:spChg>
        <pc:graphicFrameChg chg="del">
          <ac:chgData name="Rui Bessa" userId="S::rui.bessa@ren.pt::feef82f2-0637-4b34-baf0-4b7f7cd809d0" providerId="AD" clId="Web-{A8DB4CB5-B073-AB4D-3A0A-C26D6E50321B}" dt="2022-02-24T22:01:45.460" v="5"/>
          <ac:graphicFrameMkLst>
            <pc:docMk/>
            <pc:sldMk cId="319375459" sldId="328"/>
            <ac:graphicFrameMk id="16" creationId="{00000000-0000-0000-0000-000000000000}"/>
          </ac:graphicFrameMkLst>
        </pc:graphicFrameChg>
        <pc:graphicFrameChg chg="del">
          <ac:chgData name="Rui Bessa" userId="S::rui.bessa@ren.pt::feef82f2-0637-4b34-baf0-4b7f7cd809d0" providerId="AD" clId="Web-{A8DB4CB5-B073-AB4D-3A0A-C26D6E50321B}" dt="2022-02-24T22:01:45.460" v="4"/>
          <ac:graphicFrameMkLst>
            <pc:docMk/>
            <pc:sldMk cId="319375459" sldId="328"/>
            <ac:graphicFrameMk id="17" creationId="{00000000-0000-0000-0000-000000000000}"/>
          </ac:graphicFrameMkLst>
        </pc:graphicFrameChg>
        <pc:graphicFrameChg chg="del">
          <ac:chgData name="Rui Bessa" userId="S::rui.bessa@ren.pt::feef82f2-0637-4b34-baf0-4b7f7cd809d0" providerId="AD" clId="Web-{A8DB4CB5-B073-AB4D-3A0A-C26D6E50321B}" dt="2022-02-24T22:01:45.460" v="3"/>
          <ac:graphicFrameMkLst>
            <pc:docMk/>
            <pc:sldMk cId="319375459" sldId="328"/>
            <ac:graphicFrameMk id="18" creationId="{00000000-0000-0000-0000-000000000000}"/>
          </ac:graphicFrameMkLst>
        </pc:graphicFrameChg>
        <pc:picChg chg="add del mod">
          <ac:chgData name="Rui Bessa" userId="S::rui.bessa@ren.pt::feef82f2-0637-4b34-baf0-4b7f7cd809d0" providerId="AD" clId="Web-{A8DB4CB5-B073-AB4D-3A0A-C26D6E50321B}" dt="2022-02-24T22:01:13.741" v="1"/>
          <ac:picMkLst>
            <pc:docMk/>
            <pc:sldMk cId="319375459" sldId="328"/>
            <ac:picMk id="4" creationId="{C626E209-A93D-47AA-A56B-903F3D8FA87A}"/>
          </ac:picMkLst>
        </pc:picChg>
        <pc:picChg chg="add del mod">
          <ac:chgData name="Rui Bessa" userId="S::rui.bessa@ren.pt::feef82f2-0637-4b34-baf0-4b7f7cd809d0" providerId="AD" clId="Web-{A8DB4CB5-B073-AB4D-3A0A-C26D6E50321B}" dt="2022-02-24T22:02:14.164" v="12"/>
          <ac:picMkLst>
            <pc:docMk/>
            <pc:sldMk cId="319375459" sldId="328"/>
            <ac:picMk id="5" creationId="{440D4781-FFF4-4FA9-9D68-11C6B021401A}"/>
          </ac:picMkLst>
        </pc:picChg>
      </pc:sldChg>
    </pc:docChg>
  </pc:docChgLst>
  <pc:docChgLst>
    <pc:chgData name="Paulo Ferreira" userId="S::paulo.ferreira@rengasodutos.pt::ded87fe8-ecd7-461f-b7ad-7b771b811a68" providerId="AD" clId="Web-{6CEA78A6-5F8E-4593-A78A-9E739213F3BB}"/>
    <pc:docChg chg="modSld">
      <pc:chgData name="Paulo Ferreira" userId="S::paulo.ferreira@rengasodutos.pt::ded87fe8-ecd7-461f-b7ad-7b771b811a68" providerId="AD" clId="Web-{6CEA78A6-5F8E-4593-A78A-9E739213F3BB}" dt="2022-03-08T23:01:03.135" v="2"/>
      <pc:docMkLst>
        <pc:docMk/>
      </pc:docMkLst>
      <pc:sldChg chg="addSp delSp modSp">
        <pc:chgData name="Paulo Ferreira" userId="S::paulo.ferreira@rengasodutos.pt::ded87fe8-ecd7-461f-b7ad-7b771b811a68" providerId="AD" clId="Web-{6CEA78A6-5F8E-4593-A78A-9E739213F3BB}" dt="2022-03-08T23:01:03.135" v="2"/>
        <pc:sldMkLst>
          <pc:docMk/>
          <pc:sldMk cId="53689186" sldId="364"/>
        </pc:sldMkLst>
        <pc:picChg chg="del">
          <ac:chgData name="Paulo Ferreira" userId="S::paulo.ferreira@rengasodutos.pt::ded87fe8-ecd7-461f-b7ad-7b771b811a68" providerId="AD" clId="Web-{6CEA78A6-5F8E-4593-A78A-9E739213F3BB}" dt="2022-03-08T23:01:03.135" v="2"/>
          <ac:picMkLst>
            <pc:docMk/>
            <pc:sldMk cId="53689186" sldId="364"/>
            <ac:picMk id="2" creationId="{B210A13B-55A8-462D-8C09-BA3224AF72B5}"/>
          </ac:picMkLst>
        </pc:picChg>
        <pc:picChg chg="add del mod">
          <ac:chgData name="Paulo Ferreira" userId="S::paulo.ferreira@rengasodutos.pt::ded87fe8-ecd7-461f-b7ad-7b771b811a68" providerId="AD" clId="Web-{6CEA78A6-5F8E-4593-A78A-9E739213F3BB}" dt="2022-03-08T23:01:00.994" v="1"/>
          <ac:picMkLst>
            <pc:docMk/>
            <pc:sldMk cId="53689186" sldId="364"/>
            <ac:picMk id="3" creationId="{10B5D7A3-ECAE-44F7-932C-54154460D226}"/>
          </ac:picMkLst>
        </pc:picChg>
      </pc:sldChg>
    </pc:docChg>
  </pc:docChgLst>
  <pc:docChgLst>
    <pc:chgData name="Rui Bessa" userId="S::rui.bessa@ren.pt::feef82f2-0637-4b34-baf0-4b7f7cd809d0" providerId="AD" clId="Web-{AFC0F5E0-F111-4334-B6B2-B82366259FC9}"/>
    <pc:docChg chg="modSld">
      <pc:chgData name="Rui Bessa" userId="S::rui.bessa@ren.pt::feef82f2-0637-4b34-baf0-4b7f7cd809d0" providerId="AD" clId="Web-{AFC0F5E0-F111-4334-B6B2-B82366259FC9}" dt="2022-02-23T16:23:05.804" v="5" actId="20577"/>
      <pc:docMkLst>
        <pc:docMk/>
      </pc:docMkLst>
      <pc:sldChg chg="modSp">
        <pc:chgData name="Rui Bessa" userId="S::rui.bessa@ren.pt::feef82f2-0637-4b34-baf0-4b7f7cd809d0" providerId="AD" clId="Web-{AFC0F5E0-F111-4334-B6B2-B82366259FC9}" dt="2022-02-23T16:23:05.804" v="5" actId="20577"/>
        <pc:sldMkLst>
          <pc:docMk/>
          <pc:sldMk cId="3722361367" sldId="315"/>
        </pc:sldMkLst>
        <pc:spChg chg="mod">
          <ac:chgData name="Rui Bessa" userId="S::rui.bessa@ren.pt::feef82f2-0637-4b34-baf0-4b7f7cd809d0" providerId="AD" clId="Web-{AFC0F5E0-F111-4334-B6B2-B82366259FC9}" dt="2022-02-23T16:23:05.804" v="5" actId="20577"/>
          <ac:spMkLst>
            <pc:docMk/>
            <pc:sldMk cId="3722361367" sldId="315"/>
            <ac:spMk id="9" creationId="{00000000-0000-0000-0000-000000000000}"/>
          </ac:spMkLst>
        </pc:spChg>
        <pc:graphicFrameChg chg="mod modGraphic">
          <ac:chgData name="Rui Bessa" userId="S::rui.bessa@ren.pt::feef82f2-0637-4b34-baf0-4b7f7cd809d0" providerId="AD" clId="Web-{AFC0F5E0-F111-4334-B6B2-B82366259FC9}" dt="2022-02-23T16:22:11.646" v="3"/>
          <ac:graphicFrameMkLst>
            <pc:docMk/>
            <pc:sldMk cId="3722361367" sldId="315"/>
            <ac:graphicFrameMk id="18" creationId="{00000000-0000-0000-0000-000000000000}"/>
          </ac:graphicFrameMkLst>
        </pc:graphicFrameChg>
      </pc:sldChg>
    </pc:docChg>
  </pc:docChgLst>
  <pc:docChgLst>
    <pc:chgData name="Paulo Ferreira" userId="S::paulo.ferreira@rengasodutos.pt::ded87fe8-ecd7-461f-b7ad-7b771b811a68" providerId="AD" clId="Web-{D82D081A-A341-4FAB-AA92-E68B2179FA06}"/>
    <pc:docChg chg="modSld">
      <pc:chgData name="Paulo Ferreira" userId="S::paulo.ferreira@rengasodutos.pt::ded87fe8-ecd7-461f-b7ad-7b771b811a68" providerId="AD" clId="Web-{D82D081A-A341-4FAB-AA92-E68B2179FA06}" dt="2022-03-08T22:56:35.854" v="0"/>
      <pc:docMkLst>
        <pc:docMk/>
      </pc:docMkLst>
      <pc:sldChg chg="addSp modSp">
        <pc:chgData name="Paulo Ferreira" userId="S::paulo.ferreira@rengasodutos.pt::ded87fe8-ecd7-461f-b7ad-7b771b811a68" providerId="AD" clId="Web-{D82D081A-A341-4FAB-AA92-E68B2179FA06}" dt="2022-03-08T22:56:35.854" v="0"/>
        <pc:sldMkLst>
          <pc:docMk/>
          <pc:sldMk cId="53689186" sldId="364"/>
        </pc:sldMkLst>
        <pc:picChg chg="add mod">
          <ac:chgData name="Paulo Ferreira" userId="S::paulo.ferreira@rengasodutos.pt::ded87fe8-ecd7-461f-b7ad-7b771b811a68" providerId="AD" clId="Web-{D82D081A-A341-4FAB-AA92-E68B2179FA06}" dt="2022-03-08T22:56:35.854" v="0"/>
          <ac:picMkLst>
            <pc:docMk/>
            <pc:sldMk cId="53689186" sldId="364"/>
            <ac:picMk id="2" creationId="{B210A13B-55A8-462D-8C09-BA3224AF72B5}"/>
          </ac:picMkLst>
        </pc:picChg>
      </pc:sldChg>
    </pc:docChg>
  </pc:docChgLst>
  <pc:docChgLst>
    <pc:chgData name="Bruno Henrique Santos" userId="S::brunohenrique.santos@ren.pt::9abfd3d4-60a7-47ae-be04-0fb055c7a8be" providerId="AD" clId="Web-{48204D87-C9C2-436D-9A57-3B5489736E14}"/>
    <pc:docChg chg="modSld">
      <pc:chgData name="Bruno Henrique Santos" userId="S::brunohenrique.santos@ren.pt::9abfd3d4-60a7-47ae-be04-0fb055c7a8be" providerId="AD" clId="Web-{48204D87-C9C2-436D-9A57-3B5489736E14}" dt="2021-10-07T10:39:20.986" v="20" actId="14100"/>
      <pc:docMkLst>
        <pc:docMk/>
      </pc:docMkLst>
      <pc:sldChg chg="modSp">
        <pc:chgData name="Bruno Henrique Santos" userId="S::brunohenrique.santos@ren.pt::9abfd3d4-60a7-47ae-be04-0fb055c7a8be" providerId="AD" clId="Web-{48204D87-C9C2-436D-9A57-3B5489736E14}" dt="2021-10-07T10:39:20.986" v="20" actId="14100"/>
        <pc:sldMkLst>
          <pc:docMk/>
          <pc:sldMk cId="2848322129" sldId="268"/>
        </pc:sldMkLst>
        <pc:spChg chg="mod">
          <ac:chgData name="Bruno Henrique Santos" userId="S::brunohenrique.santos@ren.pt::9abfd3d4-60a7-47ae-be04-0fb055c7a8be" providerId="AD" clId="Web-{48204D87-C9C2-436D-9A57-3B5489736E14}" dt="2021-10-07T10:39:20.986" v="20" actId="14100"/>
          <ac:spMkLst>
            <pc:docMk/>
            <pc:sldMk cId="2848322129" sldId="268"/>
            <ac:spMk id="21" creationId="{00000000-0000-0000-0000-000000000000}"/>
          </ac:spMkLst>
        </pc:spChg>
      </pc:sldChg>
    </pc:docChg>
  </pc:docChgLst>
  <pc:docChgLst>
    <pc:chgData name="Rui Bessa" userId="S::rui.bessa@ren.pt::feef82f2-0637-4b34-baf0-4b7f7cd809d0" providerId="AD" clId="Web-{926681BF-F158-4A5A-B25D-2237612D9189}"/>
    <pc:docChg chg="modSld">
      <pc:chgData name="Rui Bessa" userId="S::rui.bessa@ren.pt::feef82f2-0637-4b34-baf0-4b7f7cd809d0" providerId="AD" clId="Web-{926681BF-F158-4A5A-B25D-2237612D9189}" dt="2022-02-24T22:19:22.744" v="7"/>
      <pc:docMkLst>
        <pc:docMk/>
      </pc:docMkLst>
      <pc:sldChg chg="delSp">
        <pc:chgData name="Rui Bessa" userId="S::rui.bessa@ren.pt::feef82f2-0637-4b34-baf0-4b7f7cd809d0" providerId="AD" clId="Web-{926681BF-F158-4A5A-B25D-2237612D9189}" dt="2022-02-24T22:19:22.744" v="7"/>
        <pc:sldMkLst>
          <pc:docMk/>
          <pc:sldMk cId="134377911" sldId="332"/>
        </pc:sldMkLst>
        <pc:spChg chg="del">
          <ac:chgData name="Rui Bessa" userId="S::rui.bessa@ren.pt::feef82f2-0637-4b34-baf0-4b7f7cd809d0" providerId="AD" clId="Web-{926681BF-F158-4A5A-B25D-2237612D9189}" dt="2022-02-24T22:19:22.744" v="7"/>
          <ac:spMkLst>
            <pc:docMk/>
            <pc:sldMk cId="134377911" sldId="332"/>
            <ac:spMk id="9" creationId="{00000000-0000-0000-0000-000000000000}"/>
          </ac:spMkLst>
        </pc:spChg>
        <pc:spChg chg="del">
          <ac:chgData name="Rui Bessa" userId="S::rui.bessa@ren.pt::feef82f2-0637-4b34-baf0-4b7f7cd809d0" providerId="AD" clId="Web-{926681BF-F158-4A5A-B25D-2237612D9189}" dt="2022-02-24T22:19:22.744" v="6"/>
          <ac:spMkLst>
            <pc:docMk/>
            <pc:sldMk cId="134377911" sldId="332"/>
            <ac:spMk id="10" creationId="{00000000-0000-0000-0000-000000000000}"/>
          </ac:spMkLst>
        </pc:spChg>
        <pc:spChg chg="del">
          <ac:chgData name="Rui Bessa" userId="S::rui.bessa@ren.pt::feef82f2-0637-4b34-baf0-4b7f7cd809d0" providerId="AD" clId="Web-{926681BF-F158-4A5A-B25D-2237612D9189}" dt="2022-02-24T22:19:22.744" v="5"/>
          <ac:spMkLst>
            <pc:docMk/>
            <pc:sldMk cId="134377911" sldId="332"/>
            <ac:spMk id="13" creationId="{00000000-0000-0000-0000-000000000000}"/>
          </ac:spMkLst>
        </pc:spChg>
        <pc:spChg chg="del">
          <ac:chgData name="Rui Bessa" userId="S::rui.bessa@ren.pt::feef82f2-0637-4b34-baf0-4b7f7cd809d0" providerId="AD" clId="Web-{926681BF-F158-4A5A-B25D-2237612D9189}" dt="2022-02-24T22:19:22.728" v="4"/>
          <ac:spMkLst>
            <pc:docMk/>
            <pc:sldMk cId="134377911" sldId="332"/>
            <ac:spMk id="14" creationId="{00000000-0000-0000-0000-000000000000}"/>
          </ac:spMkLst>
        </pc:spChg>
        <pc:spChg chg="del">
          <ac:chgData name="Rui Bessa" userId="S::rui.bessa@ren.pt::feef82f2-0637-4b34-baf0-4b7f7cd809d0" providerId="AD" clId="Web-{926681BF-F158-4A5A-B25D-2237612D9189}" dt="2022-02-24T22:19:22.728" v="3"/>
          <ac:spMkLst>
            <pc:docMk/>
            <pc:sldMk cId="134377911" sldId="332"/>
            <ac:spMk id="15" creationId="{00000000-0000-0000-0000-000000000000}"/>
          </ac:spMkLst>
        </pc:spChg>
        <pc:graphicFrameChg chg="del">
          <ac:chgData name="Rui Bessa" userId="S::rui.bessa@ren.pt::feef82f2-0637-4b34-baf0-4b7f7cd809d0" providerId="AD" clId="Web-{926681BF-F158-4A5A-B25D-2237612D9189}" dt="2022-02-24T22:19:22.728" v="2"/>
          <ac:graphicFrameMkLst>
            <pc:docMk/>
            <pc:sldMk cId="134377911" sldId="332"/>
            <ac:graphicFrameMk id="16" creationId="{00000000-0000-0000-0000-000000000000}"/>
          </ac:graphicFrameMkLst>
        </pc:graphicFrameChg>
        <pc:graphicFrameChg chg="del">
          <ac:chgData name="Rui Bessa" userId="S::rui.bessa@ren.pt::feef82f2-0637-4b34-baf0-4b7f7cd809d0" providerId="AD" clId="Web-{926681BF-F158-4A5A-B25D-2237612D9189}" dt="2022-02-24T22:19:22.728" v="1"/>
          <ac:graphicFrameMkLst>
            <pc:docMk/>
            <pc:sldMk cId="134377911" sldId="332"/>
            <ac:graphicFrameMk id="17" creationId="{00000000-0000-0000-0000-000000000000}"/>
          </ac:graphicFrameMkLst>
        </pc:graphicFrameChg>
        <pc:graphicFrameChg chg="del">
          <ac:chgData name="Rui Bessa" userId="S::rui.bessa@ren.pt::feef82f2-0637-4b34-baf0-4b7f7cd809d0" providerId="AD" clId="Web-{926681BF-F158-4A5A-B25D-2237612D9189}" dt="2022-02-24T22:19:22.728" v="0"/>
          <ac:graphicFrameMkLst>
            <pc:docMk/>
            <pc:sldMk cId="134377911" sldId="332"/>
            <ac:graphicFrameMk id="18" creationId="{00000000-0000-0000-0000-000000000000}"/>
          </ac:graphicFrameMkLst>
        </pc:graphicFrameChg>
      </pc:sldChg>
    </pc:docChg>
  </pc:docChgLst>
  <pc:docChgLst>
    <pc:chgData name="Paulo Ferreira" userId="S::paulo.ferreira@rengasodutos.pt::ded87fe8-ecd7-461f-b7ad-7b771b811a68" providerId="AD" clId="Web-{B8D85E7F-5AB3-478B-AA56-164F6A0CF4CE}"/>
    <pc:docChg chg="modSld">
      <pc:chgData name="Paulo Ferreira" userId="S::paulo.ferreira@rengasodutos.pt::ded87fe8-ecd7-461f-b7ad-7b771b811a68" providerId="AD" clId="Web-{B8D85E7F-5AB3-478B-AA56-164F6A0CF4CE}" dt="2022-03-08T23:03:40.719" v="29"/>
      <pc:docMkLst>
        <pc:docMk/>
      </pc:docMkLst>
      <pc:sldChg chg="addSp delSp modSp">
        <pc:chgData name="Paulo Ferreira" userId="S::paulo.ferreira@rengasodutos.pt::ded87fe8-ecd7-461f-b7ad-7b771b811a68" providerId="AD" clId="Web-{B8D85E7F-5AB3-478B-AA56-164F6A0CF4CE}" dt="2022-03-08T23:03:40.719" v="29"/>
        <pc:sldMkLst>
          <pc:docMk/>
          <pc:sldMk cId="53689186" sldId="364"/>
        </pc:sldMkLst>
        <pc:spChg chg="add del mod">
          <ac:chgData name="Paulo Ferreira" userId="S::paulo.ferreira@rengasodutos.pt::ded87fe8-ecd7-461f-b7ad-7b771b811a68" providerId="AD" clId="Web-{B8D85E7F-5AB3-478B-AA56-164F6A0CF4CE}" dt="2022-03-08T23:03:24.734" v="21"/>
          <ac:spMkLst>
            <pc:docMk/>
            <pc:sldMk cId="53689186" sldId="364"/>
            <ac:spMk id="3" creationId="{BE356722-82F0-4160-AFEB-E885AB6C9BDE}"/>
          </ac:spMkLst>
        </pc:spChg>
        <pc:spChg chg="add del mod">
          <ac:chgData name="Paulo Ferreira" userId="S::paulo.ferreira@rengasodutos.pt::ded87fe8-ecd7-461f-b7ad-7b771b811a68" providerId="AD" clId="Web-{B8D85E7F-5AB3-478B-AA56-164F6A0CF4CE}" dt="2022-03-08T23:03:24.734" v="20"/>
          <ac:spMkLst>
            <pc:docMk/>
            <pc:sldMk cId="53689186" sldId="364"/>
            <ac:spMk id="5" creationId="{D5456B24-BD93-4DCB-A344-A4B4B58D0070}"/>
          </ac:spMkLst>
        </pc:spChg>
        <pc:spChg chg="add del">
          <ac:chgData name="Paulo Ferreira" userId="S::paulo.ferreira@rengasodutos.pt::ded87fe8-ecd7-461f-b7ad-7b771b811a68" providerId="AD" clId="Web-{B8D85E7F-5AB3-478B-AA56-164F6A0CF4CE}" dt="2022-03-08T23:03:24.734" v="22"/>
          <ac:spMkLst>
            <pc:docMk/>
            <pc:sldMk cId="53689186" sldId="364"/>
            <ac:spMk id="7" creationId="{BB18DEE4-EC09-4156-A890-4A59AA4B29BA}"/>
          </ac:spMkLst>
        </pc:spChg>
        <pc:spChg chg="add del">
          <ac:chgData name="Paulo Ferreira" userId="S::paulo.ferreira@rengasodutos.pt::ded87fe8-ecd7-461f-b7ad-7b771b811a68" providerId="AD" clId="Web-{B8D85E7F-5AB3-478B-AA56-164F6A0CF4CE}" dt="2022-03-08T23:03:24.734" v="20"/>
          <ac:spMkLst>
            <pc:docMk/>
            <pc:sldMk cId="53689186" sldId="364"/>
            <ac:spMk id="11" creationId="{00000000-0000-0000-0000-000000000000}"/>
          </ac:spMkLst>
        </pc:spChg>
        <pc:spChg chg="add del">
          <ac:chgData name="Paulo Ferreira" userId="S::paulo.ferreira@rengasodutos.pt::ded87fe8-ecd7-461f-b7ad-7b771b811a68" providerId="AD" clId="Web-{B8D85E7F-5AB3-478B-AA56-164F6A0CF4CE}" dt="2022-03-08T23:03:24.734" v="21"/>
          <ac:spMkLst>
            <pc:docMk/>
            <pc:sldMk cId="53689186" sldId="364"/>
            <ac:spMk id="12" creationId="{00000000-0000-0000-0000-000000000000}"/>
          </ac:spMkLst>
        </pc:spChg>
        <pc:spChg chg="add del">
          <ac:chgData name="Paulo Ferreira" userId="S::paulo.ferreira@rengasodutos.pt::ded87fe8-ecd7-461f-b7ad-7b771b811a68" providerId="AD" clId="Web-{B8D85E7F-5AB3-478B-AA56-164F6A0CF4CE}" dt="2022-03-08T23:03:24.734" v="24"/>
          <ac:spMkLst>
            <pc:docMk/>
            <pc:sldMk cId="53689186" sldId="364"/>
            <ac:spMk id="13" creationId="{BB18DEE4-EC09-4156-A890-4A59AA4B29BA}"/>
          </ac:spMkLst>
        </pc:spChg>
        <pc:spChg chg="add del">
          <ac:chgData name="Paulo Ferreira" userId="S::paulo.ferreira@rengasodutos.pt::ded87fe8-ecd7-461f-b7ad-7b771b811a68" providerId="AD" clId="Web-{B8D85E7F-5AB3-478B-AA56-164F6A0CF4CE}" dt="2022-03-08T23:03:40.719" v="29"/>
          <ac:spMkLst>
            <pc:docMk/>
            <pc:sldMk cId="53689186" sldId="364"/>
            <ac:spMk id="24" creationId="{00000000-0000-0000-0000-000000000000}"/>
          </ac:spMkLst>
        </pc:spChg>
        <pc:spChg chg="add del">
          <ac:chgData name="Paulo Ferreira" userId="S::paulo.ferreira@rengasodutos.pt::ded87fe8-ecd7-461f-b7ad-7b771b811a68" providerId="AD" clId="Web-{B8D85E7F-5AB3-478B-AA56-164F6A0CF4CE}" dt="2022-03-08T23:03:40.719" v="28"/>
          <ac:spMkLst>
            <pc:docMk/>
            <pc:sldMk cId="53689186" sldId="364"/>
            <ac:spMk id="25" creationId="{00000000-0000-0000-0000-000000000000}"/>
          </ac:spMkLst>
        </pc:spChg>
        <pc:spChg chg="add del">
          <ac:chgData name="Paulo Ferreira" userId="S::paulo.ferreira@rengasodutos.pt::ded87fe8-ecd7-461f-b7ad-7b771b811a68" providerId="AD" clId="Web-{B8D85E7F-5AB3-478B-AA56-164F6A0CF4CE}" dt="2022-03-08T23:03:24.734" v="27"/>
          <ac:spMkLst>
            <pc:docMk/>
            <pc:sldMk cId="53689186" sldId="364"/>
            <ac:spMk id="26" creationId="{00000000-0000-0000-0000-000000000000}"/>
          </ac:spMkLst>
        </pc:spChg>
        <pc:spChg chg="add del">
          <ac:chgData name="Paulo Ferreira" userId="S::paulo.ferreira@rengasodutos.pt::ded87fe8-ecd7-461f-b7ad-7b771b811a68" providerId="AD" clId="Web-{B8D85E7F-5AB3-478B-AA56-164F6A0CF4CE}" dt="2022-03-08T23:03:24.734" v="23"/>
          <ac:spMkLst>
            <pc:docMk/>
            <pc:sldMk cId="53689186" sldId="364"/>
            <ac:spMk id="72" creationId="{00000000-0000-0000-0000-000000000000}"/>
          </ac:spMkLst>
        </pc:spChg>
        <pc:picChg chg="add del mod">
          <ac:chgData name="Paulo Ferreira" userId="S::paulo.ferreira@rengasodutos.pt::ded87fe8-ecd7-461f-b7ad-7b771b811a68" providerId="AD" clId="Web-{B8D85E7F-5AB3-478B-AA56-164F6A0CF4CE}" dt="2022-03-08T23:03:21.422" v="19"/>
          <ac:picMkLst>
            <pc:docMk/>
            <pc:sldMk cId="53689186" sldId="364"/>
            <ac:picMk id="6" creationId="{E19EE1A1-A7A5-459C-86A6-B02AC1941F98}"/>
          </ac:picMkLst>
        </pc:picChg>
      </pc:sldChg>
    </pc:docChg>
  </pc:docChgLst>
  <pc:docChgLst>
    <pc:chgData name="Rui Bessa" userId="S::rui.bessa@ren.pt::feef82f2-0637-4b34-baf0-4b7f7cd809d0" providerId="AD" clId="Web-{929AC954-D24B-4D2B-ACAE-78ED6A5A446D}"/>
    <pc:docChg chg="modSld">
      <pc:chgData name="Rui Bessa" userId="S::rui.bessa@ren.pt::feef82f2-0637-4b34-baf0-4b7f7cd809d0" providerId="AD" clId="Web-{929AC954-D24B-4D2B-ACAE-78ED6A5A446D}" dt="2022-02-17T16:48:05.192" v="11"/>
      <pc:docMkLst>
        <pc:docMk/>
      </pc:docMkLst>
      <pc:sldChg chg="modSp">
        <pc:chgData name="Rui Bessa" userId="S::rui.bessa@ren.pt::feef82f2-0637-4b34-baf0-4b7f7cd809d0" providerId="AD" clId="Web-{929AC954-D24B-4D2B-ACAE-78ED6A5A446D}" dt="2022-02-17T16:48:05.192" v="11"/>
        <pc:sldMkLst>
          <pc:docMk/>
          <pc:sldMk cId="3320933684" sldId="314"/>
        </pc:sldMkLst>
        <pc:graphicFrameChg chg="mod modGraphic">
          <ac:chgData name="Rui Bessa" userId="S::rui.bessa@ren.pt::feef82f2-0637-4b34-baf0-4b7f7cd809d0" providerId="AD" clId="Web-{929AC954-D24B-4D2B-ACAE-78ED6A5A446D}" dt="2022-02-17T16:48:05.192" v="11"/>
          <ac:graphicFrameMkLst>
            <pc:docMk/>
            <pc:sldMk cId="3320933684" sldId="314"/>
            <ac:graphicFrameMk id="18" creationId="{00000000-0000-0000-0000-000000000000}"/>
          </ac:graphicFrameMkLst>
        </pc:graphicFrameChg>
      </pc:sldChg>
    </pc:docChg>
  </pc:docChgLst>
  <pc:docChgLst>
    <pc:chgData name="Joao Moreira" userId="S::joao.moreira@ren.pt::8f8cc02d-9066-409c-8eae-39475646e90f" providerId="AD" clId="Web-{325B9548-DC6A-437D-A617-943B25479C8B}"/>
    <pc:docChg chg="modSld">
      <pc:chgData name="Joao Moreira" userId="S::joao.moreira@ren.pt::8f8cc02d-9066-409c-8eae-39475646e90f" providerId="AD" clId="Web-{325B9548-DC6A-437D-A617-943B25479C8B}" dt="2022-02-24T16:14:29.014" v="182" actId="20577"/>
      <pc:docMkLst>
        <pc:docMk/>
      </pc:docMkLst>
      <pc:sldChg chg="modSp">
        <pc:chgData name="Joao Moreira" userId="S::joao.moreira@ren.pt::8f8cc02d-9066-409c-8eae-39475646e90f" providerId="AD" clId="Web-{325B9548-DC6A-437D-A617-943B25479C8B}" dt="2022-02-24T16:14:29.014" v="182" actId="20577"/>
        <pc:sldMkLst>
          <pc:docMk/>
          <pc:sldMk cId="136962995" sldId="305"/>
        </pc:sldMkLst>
        <pc:spChg chg="mod">
          <ac:chgData name="Joao Moreira" userId="S::joao.moreira@ren.pt::8f8cc02d-9066-409c-8eae-39475646e90f" providerId="AD" clId="Web-{325B9548-DC6A-437D-A617-943B25479C8B}" dt="2022-02-24T16:14:29.014" v="182" actId="20577"/>
          <ac:spMkLst>
            <pc:docMk/>
            <pc:sldMk cId="136962995" sldId="305"/>
            <ac:spMk id="9" creationId="{00000000-0000-0000-0000-000000000000}"/>
          </ac:spMkLst>
        </pc:spChg>
        <pc:graphicFrameChg chg="mod modGraphic">
          <ac:chgData name="Joao Moreira" userId="S::joao.moreira@ren.pt::8f8cc02d-9066-409c-8eae-39475646e90f" providerId="AD" clId="Web-{325B9548-DC6A-437D-A617-943B25479C8B}" dt="2022-02-24T16:05:51.220" v="11"/>
          <ac:graphicFrameMkLst>
            <pc:docMk/>
            <pc:sldMk cId="136962995" sldId="305"/>
            <ac:graphicFrameMk id="18" creationId="{00000000-0000-0000-0000-000000000000}"/>
          </ac:graphicFrameMkLst>
        </pc:graphicFrameChg>
      </pc:sldChg>
    </pc:docChg>
  </pc:docChgLst>
  <pc:docChgLst>
    <pc:chgData name="Bruno Henrique Santos" userId="S::brunohenrique.santos@ren.pt::9abfd3d4-60a7-47ae-be04-0fb055c7a8be" providerId="AD" clId="Web-{82BAE55B-0650-43A5-8325-14797CC19770}"/>
    <pc:docChg chg="modSld">
      <pc:chgData name="Bruno Henrique Santos" userId="S::brunohenrique.santos@ren.pt::9abfd3d4-60a7-47ae-be04-0fb055c7a8be" providerId="AD" clId="Web-{82BAE55B-0650-43A5-8325-14797CC19770}" dt="2022-02-18T10:18:49.021" v="0" actId="20577"/>
      <pc:docMkLst>
        <pc:docMk/>
      </pc:docMkLst>
      <pc:sldChg chg="modSp">
        <pc:chgData name="Bruno Henrique Santos" userId="S::brunohenrique.santos@ren.pt::9abfd3d4-60a7-47ae-be04-0fb055c7a8be" providerId="AD" clId="Web-{82BAE55B-0650-43A5-8325-14797CC19770}" dt="2022-02-18T10:18:49.021" v="0" actId="20577"/>
        <pc:sldMkLst>
          <pc:docMk/>
          <pc:sldMk cId="2617054299" sldId="312"/>
        </pc:sldMkLst>
        <pc:spChg chg="mod">
          <ac:chgData name="Bruno Henrique Santos" userId="S::brunohenrique.santos@ren.pt::9abfd3d4-60a7-47ae-be04-0fb055c7a8be" providerId="AD" clId="Web-{82BAE55B-0650-43A5-8325-14797CC19770}" dt="2022-02-18T10:18:49.021" v="0" actId="20577"/>
          <ac:spMkLst>
            <pc:docMk/>
            <pc:sldMk cId="2617054299" sldId="312"/>
            <ac:spMk id="55" creationId="{00000000-0000-0000-0000-000000000000}"/>
          </ac:spMkLst>
        </pc:spChg>
      </pc:sldChg>
    </pc:docChg>
  </pc:docChgLst>
  <pc:docChgLst>
    <pc:chgData name="Rui Bessa" userId="S::rui.bessa@ren.pt::feef82f2-0637-4b34-baf0-4b7f7cd809d0" providerId="AD" clId="Web-{FD7F3822-10DB-49AC-9DB3-21392AD4548A}"/>
    <pc:docChg chg="addSld">
      <pc:chgData name="Rui Bessa" userId="S::rui.bessa@ren.pt::feef82f2-0637-4b34-baf0-4b7f7cd809d0" providerId="AD" clId="Web-{FD7F3822-10DB-49AC-9DB3-21392AD4548A}" dt="2022-02-24T22:10:29.388" v="0"/>
      <pc:docMkLst>
        <pc:docMk/>
      </pc:docMkLst>
      <pc:sldChg chg="add replId">
        <pc:chgData name="Rui Bessa" userId="S::rui.bessa@ren.pt::feef82f2-0637-4b34-baf0-4b7f7cd809d0" providerId="AD" clId="Web-{FD7F3822-10DB-49AC-9DB3-21392AD4548A}" dt="2022-02-24T22:10:29.388" v="0"/>
        <pc:sldMkLst>
          <pc:docMk/>
          <pc:sldMk cId="134377911" sldId="332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CCCF41-16FB-154C-85AF-58BB40BE2838}" type="datetimeFigureOut">
              <a:rPr lang="pt-PT" smtClean="0"/>
              <a:t>28/06/2022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79D2CC-0616-7D40-AD24-48F479E7EFE5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7613717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C19054-75EB-D34A-A5CA-30E10A86B064}" type="datetimeFigureOut">
              <a:rPr lang="pt-PT" smtClean="0"/>
              <a:t>28/06/2022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AE8218-8129-C045-B398-17C8B206D640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095792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92251" rtl="0" eaLnBrk="1" latinLnBrk="0" hangingPunct="1">
      <a:defRPr sz="1433" kern="1200">
        <a:solidFill>
          <a:schemeClr val="tx1"/>
        </a:solidFill>
        <a:latin typeface="+mn-lt"/>
        <a:ea typeface="+mn-ea"/>
        <a:cs typeface="+mn-cs"/>
      </a:defRPr>
    </a:lvl1pPr>
    <a:lvl2pPr marL="546125" algn="l" defTabSz="1092251" rtl="0" eaLnBrk="1" latinLnBrk="0" hangingPunct="1">
      <a:defRPr sz="1433" kern="1200">
        <a:solidFill>
          <a:schemeClr val="tx1"/>
        </a:solidFill>
        <a:latin typeface="+mn-lt"/>
        <a:ea typeface="+mn-ea"/>
        <a:cs typeface="+mn-cs"/>
      </a:defRPr>
    </a:lvl2pPr>
    <a:lvl3pPr marL="1092251" algn="l" defTabSz="1092251" rtl="0" eaLnBrk="1" latinLnBrk="0" hangingPunct="1">
      <a:defRPr sz="1433" kern="1200">
        <a:solidFill>
          <a:schemeClr val="tx1"/>
        </a:solidFill>
        <a:latin typeface="+mn-lt"/>
        <a:ea typeface="+mn-ea"/>
        <a:cs typeface="+mn-cs"/>
      </a:defRPr>
    </a:lvl3pPr>
    <a:lvl4pPr marL="1638376" algn="l" defTabSz="1092251" rtl="0" eaLnBrk="1" latinLnBrk="0" hangingPunct="1">
      <a:defRPr sz="1433" kern="1200">
        <a:solidFill>
          <a:schemeClr val="tx1"/>
        </a:solidFill>
        <a:latin typeface="+mn-lt"/>
        <a:ea typeface="+mn-ea"/>
        <a:cs typeface="+mn-cs"/>
      </a:defRPr>
    </a:lvl4pPr>
    <a:lvl5pPr marL="2184502" algn="l" defTabSz="1092251" rtl="0" eaLnBrk="1" latinLnBrk="0" hangingPunct="1">
      <a:defRPr sz="1433" kern="1200">
        <a:solidFill>
          <a:schemeClr val="tx1"/>
        </a:solidFill>
        <a:latin typeface="+mn-lt"/>
        <a:ea typeface="+mn-ea"/>
        <a:cs typeface="+mn-cs"/>
      </a:defRPr>
    </a:lvl5pPr>
    <a:lvl6pPr marL="2730627" algn="l" defTabSz="1092251" rtl="0" eaLnBrk="1" latinLnBrk="0" hangingPunct="1">
      <a:defRPr sz="1433" kern="1200">
        <a:solidFill>
          <a:schemeClr val="tx1"/>
        </a:solidFill>
        <a:latin typeface="+mn-lt"/>
        <a:ea typeface="+mn-ea"/>
        <a:cs typeface="+mn-cs"/>
      </a:defRPr>
    </a:lvl6pPr>
    <a:lvl7pPr marL="3276752" algn="l" defTabSz="1092251" rtl="0" eaLnBrk="1" latinLnBrk="0" hangingPunct="1">
      <a:defRPr sz="1433" kern="1200">
        <a:solidFill>
          <a:schemeClr val="tx1"/>
        </a:solidFill>
        <a:latin typeface="+mn-lt"/>
        <a:ea typeface="+mn-ea"/>
        <a:cs typeface="+mn-cs"/>
      </a:defRPr>
    </a:lvl7pPr>
    <a:lvl8pPr marL="3822878" algn="l" defTabSz="1092251" rtl="0" eaLnBrk="1" latinLnBrk="0" hangingPunct="1">
      <a:defRPr sz="1433" kern="1200">
        <a:solidFill>
          <a:schemeClr val="tx1"/>
        </a:solidFill>
        <a:latin typeface="+mn-lt"/>
        <a:ea typeface="+mn-ea"/>
        <a:cs typeface="+mn-cs"/>
      </a:defRPr>
    </a:lvl8pPr>
    <a:lvl9pPr marL="4369003" algn="l" defTabSz="1092251" rtl="0" eaLnBrk="1" latinLnBrk="0" hangingPunct="1">
      <a:defRPr sz="14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AE8218-8129-C045-B398-17C8B206D640}" type="slidenum">
              <a:rPr lang="pt-PT" smtClean="0"/>
              <a:t>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503924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AE8218-8129-C045-B398-17C8B206D640}" type="slidenum">
              <a:rPr kumimoji="0" lang="pt-P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pt-P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37438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AE8218-8129-C045-B398-17C8B206D640}" type="slidenum">
              <a:rPr lang="pt-PT" smtClean="0"/>
              <a:t>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645181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AE8218-8129-C045-B398-17C8B206D640}" type="slidenum">
              <a:rPr lang="pt-PT" smtClean="0"/>
              <a:t>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277667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AE8218-8129-C045-B398-17C8B206D640}" type="slidenum">
              <a:rPr lang="pt-PT" smtClean="0"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05834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- Mi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24995" y="1111586"/>
            <a:ext cx="7873760" cy="5969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4500" b="1" i="0" baseline="0">
                <a:solidFill>
                  <a:srgbClr val="0F2E85"/>
                </a:solidFill>
                <a:latin typeface="+mn-lt"/>
                <a:ea typeface="Bariol Serif" charset="0"/>
                <a:cs typeface="Bariol Serif" charset="0"/>
              </a:defRPr>
            </a:lvl1pPr>
          </a:lstStyle>
          <a:p>
            <a:pPr lvl="0"/>
            <a:r>
              <a:rPr lang="pt-PT"/>
              <a:t>Título </a:t>
            </a:r>
            <a:r>
              <a:rPr lang="pt-PT" err="1"/>
              <a:t>Lorem</a:t>
            </a:r>
            <a:endParaRPr lang="pt-PT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324995" y="1708486"/>
            <a:ext cx="7873760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3000" b="1" i="0" baseline="0">
                <a:solidFill>
                  <a:srgbClr val="F47929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PT" sz="3000" b="1" i="0" err="1">
                <a:latin typeface="Arial" panose="020B0604020202020204" pitchFamily="34" charset="0"/>
                <a:cs typeface="Arial" panose="020B0604020202020204" pitchFamily="34" charset="0"/>
              </a:rPr>
              <a:t>Title</a:t>
            </a:r>
            <a:r>
              <a:rPr lang="pt-PT" sz="3000" b="1" i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3000" b="1" i="0" err="1">
                <a:latin typeface="Arial" panose="020B0604020202020204" pitchFamily="34" charset="0"/>
                <a:cs typeface="Arial" panose="020B0604020202020204" pitchFamily="34" charset="0"/>
              </a:rPr>
              <a:t>Lorem</a:t>
            </a:r>
            <a:endParaRPr lang="pt-PT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324996" y="2541925"/>
            <a:ext cx="14439459" cy="683936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19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et Income totaled €95.6M, an increase of 20.7% the same period of 2010. </a:t>
            </a:r>
          </a:p>
          <a:p>
            <a:pPr lvl="0"/>
            <a:r>
              <a:rPr lang="en-US"/>
              <a:t>Recurrent Net Income reached €99.2M, 11.8% more than in 9M2010.</a:t>
            </a:r>
          </a:p>
          <a:p>
            <a:pPr lvl="0"/>
            <a:r>
              <a:rPr lang="en-US"/>
              <a:t>Net Income totaled €95.6M, increase of 20.7% over the same period of 2010. </a:t>
            </a:r>
          </a:p>
          <a:p>
            <a:pPr lvl="0"/>
            <a:r>
              <a:rPr lang="en-US"/>
              <a:t>Recurrent Net Income reached €99.2M, 11.8% more than in 9M2010.</a:t>
            </a:r>
          </a:p>
          <a:p>
            <a:pPr lvl="0"/>
            <a:endParaRPr lang="en-US"/>
          </a:p>
          <a:p>
            <a:pPr lvl="0"/>
            <a:r>
              <a:rPr lang="en-US"/>
              <a:t>Net Income totaled €95.6M, an increase of 20.7% the same period of 2010. </a:t>
            </a:r>
          </a:p>
          <a:p>
            <a:pPr lvl="0"/>
            <a:r>
              <a:rPr lang="en-US"/>
              <a:t>Recurrent Net Income reached €99.2M, 11.8% more than in 9M2010.</a:t>
            </a:r>
          </a:p>
          <a:p>
            <a:pPr lvl="0"/>
            <a:r>
              <a:rPr lang="en-US"/>
              <a:t>Net Income totaled €95.6M, increase of 20.7% over the same period of 2010. </a:t>
            </a:r>
          </a:p>
          <a:p>
            <a:pPr lvl="0"/>
            <a:r>
              <a:rPr lang="en-US"/>
              <a:t>Recurrent Net Income reached €99.2M, 11.8% more than in 9M2010.</a:t>
            </a:r>
          </a:p>
          <a:p>
            <a:pPr lvl="0"/>
            <a:endParaRPr lang="en-US"/>
          </a:p>
          <a:p>
            <a:pPr lvl="0"/>
            <a:r>
              <a:rPr lang="en-US"/>
              <a:t>Net Income totaled €95.6M, an increase of 20.7% the same period of 2010. </a:t>
            </a:r>
          </a:p>
          <a:p>
            <a:pPr lvl="0"/>
            <a:r>
              <a:rPr lang="en-US"/>
              <a:t>Recurrent Net Income reached €99.2M, 11.8% more than in 9M2010.</a:t>
            </a:r>
          </a:p>
          <a:p>
            <a:pPr lvl="0"/>
            <a:r>
              <a:rPr lang="en-US"/>
              <a:t>Net Income totaled €95.6M, increase of 20.7% over the same period of 2010. </a:t>
            </a:r>
          </a:p>
          <a:p>
            <a:pPr lvl="0"/>
            <a:r>
              <a:rPr lang="en-US"/>
              <a:t>Recurrent Net Income reached €99.2M, 11.8% more than in 9M2010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8376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0459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p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80839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- Miolo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Slide do think-cell" r:id="rId5" imgW="395" imgH="394" progId="TCLayout.ActiveDocument.1">
                  <p:embed/>
                </p:oleObj>
              </mc:Choice>
              <mc:Fallback>
                <p:oleObj name="Slide do think-cell" r:id="rId5" imgW="395" imgH="394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24995" y="1111586"/>
            <a:ext cx="7873760" cy="596900"/>
          </a:xfrm>
          <a:prstGeom prst="rect">
            <a:avLst/>
          </a:prstGeom>
        </p:spPr>
        <p:txBody>
          <a:bodyPr lIns="0" tIns="0" rIns="0" bIns="0"/>
          <a:lstStyle>
            <a:lvl1pPr marL="0" indent="0" rtl="0">
              <a:buFontTx/>
              <a:buNone/>
              <a:defRPr sz="4500" b="1" i="0" baseline="0">
                <a:solidFill>
                  <a:srgbClr val="0F2E85"/>
                </a:solidFill>
                <a:latin typeface="+mn-lt"/>
                <a:ea typeface="Bariol Serif" charset="0"/>
                <a:cs typeface="Bariol Serif" charset="0"/>
              </a:defRPr>
            </a:lvl1pPr>
          </a:lstStyle>
          <a:p>
            <a:pPr lvl="0"/>
            <a:r>
              <a:rPr lang="pt-PT" dirty="0"/>
              <a:t>Título </a:t>
            </a:r>
            <a:r>
              <a:rPr lang="pt-PT" dirty="0" err="1"/>
              <a:t>Lorem</a:t>
            </a:r>
            <a:endParaRPr lang="pt-PT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324995" y="1708486"/>
            <a:ext cx="7873760" cy="393700"/>
          </a:xfrm>
          <a:prstGeom prst="rect">
            <a:avLst/>
          </a:prstGeom>
        </p:spPr>
        <p:txBody>
          <a:bodyPr lIns="0" tIns="0" rIns="0" bIns="0"/>
          <a:lstStyle>
            <a:lvl1pPr marL="0" indent="0" rtl="0">
              <a:buFontTx/>
              <a:buNone/>
              <a:defRPr sz="3000" b="1" i="0" baseline="0">
                <a:solidFill>
                  <a:srgbClr val="F47929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PT" sz="3000" b="1" i="0" dirty="0" err="1">
                <a:latin typeface="Arial" panose="020B0604020202020204" pitchFamily="34" charset="0"/>
                <a:cs typeface="Arial" panose="020B0604020202020204" pitchFamily="34" charset="0"/>
              </a:rPr>
              <a:t>Title</a:t>
            </a:r>
            <a:r>
              <a:rPr lang="pt-PT" sz="3000" b="1" i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3000" b="1" i="0" dirty="0" err="1">
                <a:latin typeface="Arial" panose="020B0604020202020204" pitchFamily="34" charset="0"/>
                <a:cs typeface="Arial" panose="020B0604020202020204" pitchFamily="34" charset="0"/>
              </a:rPr>
              <a:t>Lorem</a:t>
            </a:r>
            <a:endParaRPr lang="pt-PT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324998" y="2541927"/>
            <a:ext cx="14439459" cy="6839365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ts val="2600"/>
              </a:lnSpc>
              <a:spcBef>
                <a:spcPts val="0"/>
              </a:spcBef>
              <a:buNone/>
              <a:defRPr sz="19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pt-PT" dirty="0"/>
              <a:t>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totaled</a:t>
            </a:r>
            <a:r>
              <a:rPr lang="pt-PT" dirty="0"/>
              <a:t> €95.6M, </a:t>
            </a:r>
            <a:r>
              <a:rPr lang="pt-PT" dirty="0" err="1"/>
              <a:t>an</a:t>
            </a:r>
            <a:r>
              <a:rPr lang="pt-PT" dirty="0"/>
              <a:t> </a:t>
            </a:r>
            <a:r>
              <a:rPr lang="pt-PT" dirty="0" err="1"/>
              <a:t>increase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.7%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same</a:t>
            </a:r>
            <a:r>
              <a:rPr lang="pt-PT" dirty="0"/>
              <a:t> </a:t>
            </a:r>
            <a:r>
              <a:rPr lang="pt-PT" dirty="0" err="1"/>
              <a:t>period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10. </a:t>
            </a:r>
          </a:p>
          <a:p>
            <a:pPr lvl="0"/>
            <a:r>
              <a:rPr lang="pt-PT" dirty="0" err="1"/>
              <a:t>Recurrent</a:t>
            </a:r>
            <a:r>
              <a:rPr lang="pt-PT" dirty="0"/>
              <a:t> 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reached</a:t>
            </a:r>
            <a:r>
              <a:rPr lang="pt-PT" dirty="0"/>
              <a:t> €99.2M, 11.8% more </a:t>
            </a:r>
            <a:r>
              <a:rPr lang="pt-PT" dirty="0" err="1"/>
              <a:t>than</a:t>
            </a:r>
            <a:r>
              <a:rPr lang="pt-PT" dirty="0"/>
              <a:t> in 9M2010.</a:t>
            </a:r>
          </a:p>
          <a:p>
            <a:pPr lvl="0"/>
            <a:r>
              <a:rPr lang="pt-PT" dirty="0"/>
              <a:t>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totaled</a:t>
            </a:r>
            <a:r>
              <a:rPr lang="pt-PT" dirty="0"/>
              <a:t> €95.6M, </a:t>
            </a:r>
            <a:r>
              <a:rPr lang="pt-PT" dirty="0" err="1"/>
              <a:t>increase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.7% </a:t>
            </a:r>
            <a:r>
              <a:rPr lang="pt-PT" dirty="0" err="1"/>
              <a:t>over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same</a:t>
            </a:r>
            <a:r>
              <a:rPr lang="pt-PT" dirty="0"/>
              <a:t> </a:t>
            </a:r>
            <a:r>
              <a:rPr lang="pt-PT" dirty="0" err="1"/>
              <a:t>period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10. </a:t>
            </a:r>
          </a:p>
          <a:p>
            <a:pPr lvl="0"/>
            <a:r>
              <a:rPr lang="pt-PT" dirty="0" err="1"/>
              <a:t>Recurrent</a:t>
            </a:r>
            <a:r>
              <a:rPr lang="pt-PT" dirty="0"/>
              <a:t> 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reached</a:t>
            </a:r>
            <a:r>
              <a:rPr lang="pt-PT" dirty="0"/>
              <a:t> €99.2M, 11.8% more </a:t>
            </a:r>
            <a:r>
              <a:rPr lang="pt-PT" dirty="0" err="1"/>
              <a:t>than</a:t>
            </a:r>
            <a:r>
              <a:rPr lang="pt-PT" dirty="0"/>
              <a:t> in 9M2010.</a:t>
            </a:r>
          </a:p>
          <a:p>
            <a:pPr lvl="0"/>
            <a:endParaRPr lang="pt-PT" dirty="0"/>
          </a:p>
          <a:p>
            <a:pPr lvl="0"/>
            <a:r>
              <a:rPr lang="pt-PT" dirty="0"/>
              <a:t>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totaled</a:t>
            </a:r>
            <a:r>
              <a:rPr lang="pt-PT" dirty="0"/>
              <a:t> €95.6M, </a:t>
            </a:r>
            <a:r>
              <a:rPr lang="pt-PT" dirty="0" err="1"/>
              <a:t>an</a:t>
            </a:r>
            <a:r>
              <a:rPr lang="pt-PT" dirty="0"/>
              <a:t> </a:t>
            </a:r>
            <a:r>
              <a:rPr lang="pt-PT" dirty="0" err="1"/>
              <a:t>increase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.7%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same</a:t>
            </a:r>
            <a:r>
              <a:rPr lang="pt-PT" dirty="0"/>
              <a:t> </a:t>
            </a:r>
            <a:r>
              <a:rPr lang="pt-PT" dirty="0" err="1"/>
              <a:t>period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10. </a:t>
            </a:r>
          </a:p>
          <a:p>
            <a:pPr lvl="0"/>
            <a:r>
              <a:rPr lang="pt-PT" dirty="0" err="1"/>
              <a:t>Recurrent</a:t>
            </a:r>
            <a:r>
              <a:rPr lang="pt-PT" dirty="0"/>
              <a:t> 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reached</a:t>
            </a:r>
            <a:r>
              <a:rPr lang="pt-PT" dirty="0"/>
              <a:t> €99.2M, 11.8% more </a:t>
            </a:r>
            <a:r>
              <a:rPr lang="pt-PT" dirty="0" err="1"/>
              <a:t>than</a:t>
            </a:r>
            <a:r>
              <a:rPr lang="pt-PT" dirty="0"/>
              <a:t> in 9M2010.</a:t>
            </a:r>
          </a:p>
          <a:p>
            <a:pPr lvl="0"/>
            <a:r>
              <a:rPr lang="pt-PT" dirty="0"/>
              <a:t>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totaled</a:t>
            </a:r>
            <a:r>
              <a:rPr lang="pt-PT" dirty="0"/>
              <a:t> €95.6M, </a:t>
            </a:r>
            <a:r>
              <a:rPr lang="pt-PT" dirty="0" err="1"/>
              <a:t>increase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.7% </a:t>
            </a:r>
            <a:r>
              <a:rPr lang="pt-PT" dirty="0" err="1"/>
              <a:t>over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same</a:t>
            </a:r>
            <a:r>
              <a:rPr lang="pt-PT" dirty="0"/>
              <a:t> </a:t>
            </a:r>
            <a:r>
              <a:rPr lang="pt-PT" dirty="0" err="1"/>
              <a:t>period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10. </a:t>
            </a:r>
          </a:p>
          <a:p>
            <a:pPr lvl="0"/>
            <a:r>
              <a:rPr lang="pt-PT" dirty="0" err="1"/>
              <a:t>Recurrent</a:t>
            </a:r>
            <a:r>
              <a:rPr lang="pt-PT" dirty="0"/>
              <a:t> 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reached</a:t>
            </a:r>
            <a:r>
              <a:rPr lang="pt-PT" dirty="0"/>
              <a:t> €99.2M, 11.8% more </a:t>
            </a:r>
            <a:r>
              <a:rPr lang="pt-PT" dirty="0" err="1"/>
              <a:t>than</a:t>
            </a:r>
            <a:r>
              <a:rPr lang="pt-PT" dirty="0"/>
              <a:t> in 9M2010.</a:t>
            </a:r>
          </a:p>
          <a:p>
            <a:pPr lvl="0"/>
            <a:endParaRPr lang="pt-PT" dirty="0"/>
          </a:p>
          <a:p>
            <a:pPr lvl="0"/>
            <a:r>
              <a:rPr lang="pt-PT" dirty="0"/>
              <a:t>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totaled</a:t>
            </a:r>
            <a:r>
              <a:rPr lang="pt-PT" dirty="0"/>
              <a:t> €95.6M, </a:t>
            </a:r>
            <a:r>
              <a:rPr lang="pt-PT" dirty="0" err="1"/>
              <a:t>an</a:t>
            </a:r>
            <a:r>
              <a:rPr lang="pt-PT" dirty="0"/>
              <a:t> </a:t>
            </a:r>
            <a:r>
              <a:rPr lang="pt-PT" dirty="0" err="1"/>
              <a:t>increase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.7%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same</a:t>
            </a:r>
            <a:r>
              <a:rPr lang="pt-PT" dirty="0"/>
              <a:t> </a:t>
            </a:r>
            <a:r>
              <a:rPr lang="pt-PT" dirty="0" err="1"/>
              <a:t>period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10. </a:t>
            </a:r>
          </a:p>
          <a:p>
            <a:pPr lvl="0"/>
            <a:r>
              <a:rPr lang="pt-PT" dirty="0" err="1"/>
              <a:t>Recurrent</a:t>
            </a:r>
            <a:r>
              <a:rPr lang="pt-PT" dirty="0"/>
              <a:t> 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reached</a:t>
            </a:r>
            <a:r>
              <a:rPr lang="pt-PT" dirty="0"/>
              <a:t> €99.2M, 11.8% more </a:t>
            </a:r>
            <a:r>
              <a:rPr lang="pt-PT" dirty="0" err="1"/>
              <a:t>than</a:t>
            </a:r>
            <a:r>
              <a:rPr lang="pt-PT" dirty="0"/>
              <a:t> in 9M2010.</a:t>
            </a:r>
          </a:p>
          <a:p>
            <a:pPr lvl="0"/>
            <a:r>
              <a:rPr lang="pt-PT" dirty="0"/>
              <a:t>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totaled</a:t>
            </a:r>
            <a:r>
              <a:rPr lang="pt-PT" dirty="0"/>
              <a:t> €95.6M, </a:t>
            </a:r>
            <a:r>
              <a:rPr lang="pt-PT" dirty="0" err="1"/>
              <a:t>increase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.7% </a:t>
            </a:r>
            <a:r>
              <a:rPr lang="pt-PT" dirty="0" err="1"/>
              <a:t>over</a:t>
            </a:r>
            <a:r>
              <a:rPr lang="pt-PT" dirty="0"/>
              <a:t>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same</a:t>
            </a:r>
            <a:r>
              <a:rPr lang="pt-PT" dirty="0"/>
              <a:t> </a:t>
            </a:r>
            <a:r>
              <a:rPr lang="pt-PT" dirty="0" err="1"/>
              <a:t>period</a:t>
            </a:r>
            <a:r>
              <a:rPr lang="pt-PT" dirty="0"/>
              <a:t> </a:t>
            </a:r>
            <a:r>
              <a:rPr lang="pt-PT" dirty="0" err="1"/>
              <a:t>of</a:t>
            </a:r>
            <a:r>
              <a:rPr lang="pt-PT" dirty="0"/>
              <a:t> 2010. </a:t>
            </a:r>
          </a:p>
          <a:p>
            <a:pPr lvl="0"/>
            <a:r>
              <a:rPr lang="pt-PT" dirty="0" err="1"/>
              <a:t>Recurrent</a:t>
            </a:r>
            <a:r>
              <a:rPr lang="pt-PT" dirty="0"/>
              <a:t> Net </a:t>
            </a:r>
            <a:r>
              <a:rPr lang="pt-PT" dirty="0" err="1"/>
              <a:t>Income</a:t>
            </a:r>
            <a:r>
              <a:rPr lang="pt-PT" dirty="0"/>
              <a:t> </a:t>
            </a:r>
            <a:r>
              <a:rPr lang="pt-PT" dirty="0" err="1"/>
              <a:t>reached</a:t>
            </a:r>
            <a:r>
              <a:rPr lang="pt-PT" dirty="0"/>
              <a:t> €99.2M, 11.8% more </a:t>
            </a:r>
            <a:r>
              <a:rPr lang="pt-PT" dirty="0" err="1"/>
              <a:t>than</a:t>
            </a:r>
            <a:r>
              <a:rPr lang="pt-PT" dirty="0"/>
              <a:t> in 9M2010.</a:t>
            </a:r>
          </a:p>
          <a:p>
            <a:pPr lvl="0"/>
            <a:endParaRPr lang="pt-PT" dirty="0"/>
          </a:p>
          <a:p>
            <a:pPr lv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454569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de Fecho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92488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5540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</p:sldLayoutIdLst>
  <p:txStyles>
    <p:titleStyle>
      <a:lvl1pPr algn="l" defTabSz="1300277" rtl="0" eaLnBrk="1" latinLnBrk="0" hangingPunct="1">
        <a:lnSpc>
          <a:spcPct val="90000"/>
        </a:lnSpc>
        <a:spcBef>
          <a:spcPct val="0"/>
        </a:spcBef>
        <a:buNone/>
        <a:defRPr sz="625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5069" indent="-325069" algn="l" defTabSz="1300277" rtl="0" eaLnBrk="1" latinLnBrk="0" hangingPunct="1">
        <a:lnSpc>
          <a:spcPct val="90000"/>
        </a:lnSpc>
        <a:spcBef>
          <a:spcPts val="1422"/>
        </a:spcBef>
        <a:buFont typeface="Arial" panose="020B0604020202020204" pitchFamily="34" charset="0"/>
        <a:buChar char="•"/>
        <a:defRPr sz="3982" kern="1200">
          <a:solidFill>
            <a:schemeClr val="tx1"/>
          </a:solidFill>
          <a:latin typeface="+mn-lt"/>
          <a:ea typeface="+mn-ea"/>
          <a:cs typeface="+mn-cs"/>
        </a:defRPr>
      </a:lvl1pPr>
      <a:lvl2pPr marL="975208" indent="-325069" algn="l" defTabSz="1300277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2pPr>
      <a:lvl3pPr marL="1625346" indent="-325069" algn="l" defTabSz="1300277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3pPr>
      <a:lvl4pPr marL="2275484" indent="-325069" algn="l" defTabSz="1300277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925623" indent="-325069" algn="l" defTabSz="1300277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575761" indent="-325069" algn="l" defTabSz="1300277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4225900" indent="-325069" algn="l" defTabSz="1300277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876038" indent="-325069" algn="l" defTabSz="1300277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526176" indent="-325069" algn="l" defTabSz="1300277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138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277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415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554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0692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0830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0969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1107" algn="l" defTabSz="1300277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Slide do think-cell" r:id="rId7" imgW="395" imgH="394" progId="TCLayout.ActiveDocument.1">
                  <p:embed/>
                </p:oleObj>
              </mc:Choice>
              <mc:Fallback>
                <p:oleObj name="Slide do think-cell" r:id="rId7" imgW="395" imgH="394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47834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</p:sldLayoutIdLst>
  <p:txStyles>
    <p:titleStyle>
      <a:lvl1pPr algn="l" defTabSz="1300245" rtl="0" eaLnBrk="1" latinLnBrk="0" hangingPunct="1">
        <a:lnSpc>
          <a:spcPct val="90000"/>
        </a:lnSpc>
        <a:spcBef>
          <a:spcPct val="0"/>
        </a:spcBef>
        <a:buNone/>
        <a:defRPr sz="625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5061" indent="-325061" algn="l" defTabSz="1300245" rtl="0" eaLnBrk="1" latinLnBrk="0" hangingPunct="1">
        <a:lnSpc>
          <a:spcPct val="90000"/>
        </a:lnSpc>
        <a:spcBef>
          <a:spcPts val="1423"/>
        </a:spcBef>
        <a:buFont typeface="Arial" panose="020B0604020202020204" pitchFamily="34" charset="0"/>
        <a:buChar char="•"/>
        <a:defRPr sz="3983" kern="1200">
          <a:solidFill>
            <a:schemeClr val="tx1"/>
          </a:solidFill>
          <a:latin typeface="+mn-lt"/>
          <a:ea typeface="+mn-ea"/>
          <a:cs typeface="+mn-cs"/>
        </a:defRPr>
      </a:lvl1pPr>
      <a:lvl2pPr marL="975184" indent="-325061" algn="l" defTabSz="1300245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3413" kern="1200">
          <a:solidFill>
            <a:schemeClr val="tx1"/>
          </a:solidFill>
          <a:latin typeface="+mn-lt"/>
          <a:ea typeface="+mn-ea"/>
          <a:cs typeface="+mn-cs"/>
        </a:defRPr>
      </a:lvl2pPr>
      <a:lvl3pPr marL="1625306" indent="-325061" algn="l" defTabSz="1300245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844" kern="1200">
          <a:solidFill>
            <a:schemeClr val="tx1"/>
          </a:solidFill>
          <a:latin typeface="+mn-lt"/>
          <a:ea typeface="+mn-ea"/>
          <a:cs typeface="+mn-cs"/>
        </a:defRPr>
      </a:lvl3pPr>
      <a:lvl4pPr marL="2275427" indent="-325061" algn="l" defTabSz="1300245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925550" indent="-325061" algn="l" defTabSz="1300245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575672" indent="-325061" algn="l" defTabSz="1300245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4225794" indent="-325061" algn="l" defTabSz="1300245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875917" indent="-325061" algn="l" defTabSz="1300245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526038" indent="-325061" algn="l" defTabSz="1300245" rtl="0" eaLnBrk="1" latinLnBrk="0" hangingPunct="1">
        <a:lnSpc>
          <a:spcPct val="90000"/>
        </a:lnSpc>
        <a:spcBef>
          <a:spcPts val="711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024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1pPr>
      <a:lvl2pPr marL="650122" algn="l" defTabSz="130024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1300245" algn="l" defTabSz="130024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950366" algn="l" defTabSz="130024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00490" algn="l" defTabSz="130024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50611" algn="l" defTabSz="130024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900733" algn="l" defTabSz="130024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550856" algn="l" defTabSz="130024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5200977" algn="l" defTabSz="1300245" rtl="0" eaLnBrk="1" latinLnBrk="0" hangingPunct="1"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microsoft.com/office/2007/relationships/hdphoto" Target="../media/hdphoto3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emf"/><Relationship Id="rId12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microsoft.com/office/2007/relationships/hdphoto" Target="../media/hdphoto2.wdp"/><Relationship Id="rId5" Type="http://schemas.openxmlformats.org/officeDocument/2006/relationships/image" Target="../media/image8.jpg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.xml"/><Relationship Id="rId9" Type="http://schemas.microsoft.com/office/2007/relationships/hdphoto" Target="../media/hdphoto1.wdp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jpe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95754" y="7471060"/>
            <a:ext cx="933060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pt-PT" sz="6000" dirty="0">
                <a:solidFill>
                  <a:srgbClr val="0F2E85"/>
                </a:solidFill>
                <a:ea typeface="Bariol Serif Light" charset="0"/>
                <a:cs typeface="Bariol Serif Light" charset="0"/>
              </a:rPr>
              <a:t>29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10158" y="7769640"/>
            <a:ext cx="1581554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pt-PT" sz="3200" dirty="0">
                <a:solidFill>
                  <a:srgbClr val="0F2E85"/>
                </a:solidFill>
                <a:ea typeface="Bariol Serif Light" charset="0"/>
                <a:cs typeface="Bariol Serif Light" charset="0"/>
              </a:rPr>
              <a:t>jun’2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333082" y="8684035"/>
            <a:ext cx="3086518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PT" sz="2700" b="1" i="1" dirty="0">
                <a:solidFill>
                  <a:srgbClr val="0F2E85"/>
                </a:solidFill>
                <a:latin typeface="Arial" panose="020B0604020202020204" pitchFamily="34" charset="0"/>
                <a:ea typeface="Gotham Rounded" charset="0"/>
                <a:cs typeface="Arial" panose="020B0604020202020204" pitchFamily="34" charset="0"/>
              </a:rPr>
              <a:t>Lisboa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0398" y="8481857"/>
            <a:ext cx="647700" cy="381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720282" y="3601141"/>
            <a:ext cx="1040947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pt-PT" sz="6000" b="1" dirty="0">
                <a:solidFill>
                  <a:srgbClr val="0F2E85"/>
                </a:solidFill>
                <a:ea typeface="Bariol Serif Light" charset="0"/>
                <a:cs typeface="Bariol Serif Light" charset="0"/>
              </a:rPr>
              <a:t>Redes Energéticas Nacionai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770964" y="4618801"/>
            <a:ext cx="8291498" cy="3847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pt-PT" sz="2500" b="1" dirty="0">
                <a:solidFill>
                  <a:srgbClr val="00A883"/>
                </a:solidFill>
                <a:latin typeface="Arial"/>
                <a:ea typeface="Gotham Rounded" charset="0"/>
                <a:cs typeface="Arial"/>
              </a:rPr>
              <a:t>Integração de novos gases nas infraestrutura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0964" y="5259809"/>
            <a:ext cx="1773412" cy="10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095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351726" y="3551274"/>
            <a:ext cx="86336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6000" b="1" dirty="0">
                <a:solidFill>
                  <a:srgbClr val="0F2E85"/>
                </a:solidFill>
              </a:rPr>
              <a:t>Obrigado!</a:t>
            </a:r>
          </a:p>
        </p:txBody>
      </p:sp>
    </p:spTree>
    <p:extLst>
      <p:ext uri="{BB962C8B-B14F-4D97-AF65-F5344CB8AC3E}">
        <p14:creationId xmlns:p14="http://schemas.microsoft.com/office/powerpoint/2010/main" val="680857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ção do Texto 10"/>
          <p:cNvSpPr>
            <a:spLocks noGrp="1"/>
          </p:cNvSpPr>
          <p:nvPr>
            <p:ph type="body" sz="quarter" idx="10"/>
          </p:nvPr>
        </p:nvSpPr>
        <p:spPr>
          <a:xfrm>
            <a:off x="2018757" y="1070182"/>
            <a:ext cx="12749101" cy="776979"/>
          </a:xfrm>
        </p:spPr>
        <p:txBody>
          <a:bodyPr>
            <a:normAutofit/>
          </a:bodyPr>
          <a:lstStyle/>
          <a:p>
            <a:r>
              <a:rPr lang="pt-PT" dirty="0"/>
              <a:t>Redes Energéticas Nacionais</a:t>
            </a:r>
          </a:p>
        </p:txBody>
      </p:sp>
      <p:sp>
        <p:nvSpPr>
          <p:cNvPr id="12" name="Marcador de Posição do Texto 11"/>
          <p:cNvSpPr>
            <a:spLocks noGrp="1"/>
          </p:cNvSpPr>
          <p:nvPr>
            <p:ph type="body" sz="quarter" idx="11"/>
          </p:nvPr>
        </p:nvSpPr>
        <p:spPr>
          <a:xfrm>
            <a:off x="2018759" y="1686612"/>
            <a:ext cx="7873760" cy="393700"/>
          </a:xfrm>
        </p:spPr>
        <p:txBody>
          <a:bodyPr>
            <a:normAutofit lnSpcReduction="10000"/>
          </a:bodyPr>
          <a:lstStyle/>
          <a:p>
            <a:r>
              <a:rPr lang="pt-PT" dirty="0">
                <a:solidFill>
                  <a:srgbClr val="00A883"/>
                </a:solidFill>
              </a:rPr>
              <a:t>Agenda</a:t>
            </a:r>
          </a:p>
        </p:txBody>
      </p:sp>
      <p:sp>
        <p:nvSpPr>
          <p:cNvPr id="7" name="Oval 4">
            <a:extLst>
              <a:ext uri="{FF2B5EF4-FFF2-40B4-BE49-F238E27FC236}">
                <a16:creationId xmlns:a16="http://schemas.microsoft.com/office/drawing/2014/main" id="{BB18DEE4-EC09-4156-A890-4A59AA4B29BA}"/>
              </a:ext>
            </a:extLst>
          </p:cNvPr>
          <p:cNvSpPr txBox="1"/>
          <p:nvPr/>
        </p:nvSpPr>
        <p:spPr>
          <a:xfrm>
            <a:off x="969417" y="1149164"/>
            <a:ext cx="936608" cy="895627"/>
          </a:xfrm>
          <a:prstGeom prst="rect">
            <a:avLst/>
          </a:prstGeom>
          <a:solidFill>
            <a:srgbClr val="0F2E85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pt-PT" sz="1400" b="1" kern="0" dirty="0">
                <a:solidFill>
                  <a:schemeClr val="accent6">
                    <a:lumMod val="20000"/>
                    <a:lumOff val="80000"/>
                  </a:schemeClr>
                </a:solidFill>
                <a:latin typeface="Calibri"/>
                <a:cs typeface="Rubik" panose="00000500000000000000" pitchFamily="2" charset="-79"/>
              </a:rPr>
              <a:t>1</a:t>
            </a:r>
            <a:endParaRPr kumimoji="0" lang="pt-PT" sz="1400" b="1" i="0" u="none" strike="noStrike" kern="0" cap="none" spc="0" normalizeH="0" baseline="0" noProof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LnTx/>
              <a:uFillTx/>
              <a:latin typeface="Calibri"/>
              <a:ea typeface="+mn-ea"/>
              <a:cs typeface="Rubik" panose="00000500000000000000" pitchFamily="2" charset="-79"/>
            </a:endParaRPr>
          </a:p>
        </p:txBody>
      </p:sp>
      <p:sp>
        <p:nvSpPr>
          <p:cNvPr id="3" name="Flowchart: Delay 2"/>
          <p:cNvSpPr/>
          <p:nvPr/>
        </p:nvSpPr>
        <p:spPr>
          <a:xfrm rot="10800000">
            <a:off x="499238" y="2966566"/>
            <a:ext cx="1156447" cy="1083480"/>
          </a:xfrm>
          <a:prstGeom prst="flowChartDelay">
            <a:avLst/>
          </a:prstGeo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4" name="Rectangle 3"/>
          <p:cNvSpPr/>
          <p:nvPr/>
        </p:nvSpPr>
        <p:spPr>
          <a:xfrm>
            <a:off x="1655685" y="2966566"/>
            <a:ext cx="9007648" cy="1083480"/>
          </a:xfrm>
          <a:prstGeom prst="rect">
            <a:avLst/>
          </a:prstGeo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PT" sz="28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A REN</a:t>
            </a:r>
            <a:endParaRPr lang="en-US" sz="2800" b="1" dirty="0">
              <a:solidFill>
                <a:srgbClr val="FFFFFF"/>
              </a:solidFill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</p:txBody>
      </p:sp>
      <p:sp>
        <p:nvSpPr>
          <p:cNvPr id="9" name="Flowchart: Delay 8"/>
          <p:cNvSpPr/>
          <p:nvPr/>
        </p:nvSpPr>
        <p:spPr>
          <a:xfrm rot="10800000">
            <a:off x="499238" y="4343217"/>
            <a:ext cx="1156447" cy="1083480"/>
          </a:xfrm>
          <a:prstGeom prst="flowChartDelay">
            <a:avLst/>
          </a:prstGeo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0" name="Rectangle 9"/>
          <p:cNvSpPr/>
          <p:nvPr/>
        </p:nvSpPr>
        <p:spPr>
          <a:xfrm>
            <a:off x="1655685" y="4343217"/>
            <a:ext cx="9007648" cy="1083480"/>
          </a:xfrm>
          <a:prstGeom prst="rect">
            <a:avLst/>
          </a:prstGeo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PT" sz="28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O</a:t>
            </a:r>
            <a:r>
              <a:rPr lang="pt-PT" sz="2800" b="1" dirty="0">
                <a:solidFill>
                  <a:srgbClr val="FF0000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 </a:t>
            </a:r>
            <a:r>
              <a:rPr lang="pt-PT" sz="28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H</a:t>
            </a:r>
            <a:r>
              <a:rPr lang="pt-PT" sz="2800" b="1" baseline="-250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2</a:t>
            </a:r>
            <a:r>
              <a:rPr lang="pt-PT" sz="28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 e a Transição energética</a:t>
            </a:r>
          </a:p>
        </p:txBody>
      </p:sp>
      <p:sp>
        <p:nvSpPr>
          <p:cNvPr id="13" name="Flowchart: Delay 12"/>
          <p:cNvSpPr/>
          <p:nvPr/>
        </p:nvSpPr>
        <p:spPr>
          <a:xfrm rot="10800000">
            <a:off x="499239" y="5720556"/>
            <a:ext cx="1156447" cy="1083480"/>
          </a:xfrm>
          <a:prstGeom prst="flowChartDelay">
            <a:avLst/>
          </a:prstGeo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4" name="Rectangle 13"/>
          <p:cNvSpPr/>
          <p:nvPr/>
        </p:nvSpPr>
        <p:spPr>
          <a:xfrm>
            <a:off x="1655686" y="5720556"/>
            <a:ext cx="9007648" cy="1083480"/>
          </a:xfrm>
          <a:prstGeom prst="rect">
            <a:avLst/>
          </a:prstGeo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O </a:t>
            </a:r>
            <a:r>
              <a:rPr lang="en-US" sz="2800" b="1" dirty="0" err="1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papel</a:t>
            </a:r>
            <a:r>
              <a:rPr lang="en-US" sz="28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 das </a:t>
            </a:r>
            <a:r>
              <a:rPr lang="en-US" sz="2800" b="1" dirty="0" err="1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infraestruturas</a:t>
            </a:r>
            <a:endParaRPr lang="en-US" sz="2800" b="1" dirty="0">
              <a:solidFill>
                <a:srgbClr val="FFFFFF"/>
              </a:solidFill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</p:txBody>
      </p:sp>
      <p:sp>
        <p:nvSpPr>
          <p:cNvPr id="15" name="Flowchart: Delay 14"/>
          <p:cNvSpPr/>
          <p:nvPr/>
        </p:nvSpPr>
        <p:spPr>
          <a:xfrm rot="10800000">
            <a:off x="499239" y="7101648"/>
            <a:ext cx="1156447" cy="1083480"/>
          </a:xfrm>
          <a:prstGeom prst="flowChartDelay">
            <a:avLst/>
          </a:prstGeo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16" name="Rectangle 15"/>
          <p:cNvSpPr/>
          <p:nvPr/>
        </p:nvSpPr>
        <p:spPr>
          <a:xfrm>
            <a:off x="1655686" y="7101648"/>
            <a:ext cx="9007648" cy="1083480"/>
          </a:xfrm>
          <a:prstGeom prst="rect">
            <a:avLst/>
          </a:prstGeo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PT" sz="28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A agenda da REN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37"/>
          <a:stretch/>
        </p:blipFill>
        <p:spPr>
          <a:xfrm>
            <a:off x="10529047" y="8950"/>
            <a:ext cx="6821756" cy="9752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2082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83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Slide do think-cell" r:id="rId6" imgW="395" imgH="394" progId="TCLayout.ActiveDocument.1">
                  <p:embed/>
                </p:oleObj>
              </mc:Choice>
              <mc:Fallback>
                <p:oleObj name="Slide do think-cell" r:id="rId6" imgW="395" imgH="394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/>
        </p:nvSpPr>
        <p:spPr>
          <a:xfrm>
            <a:off x="6881296" y="5271269"/>
            <a:ext cx="19635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697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Colaboradore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9755895" y="5271269"/>
            <a:ext cx="23638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25.325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Horas de formação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2769869" y="5271269"/>
            <a:ext cx="23638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117.262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Árvores plantadas</a:t>
            </a:r>
          </a:p>
        </p:txBody>
      </p:sp>
      <p:pic>
        <p:nvPicPr>
          <p:cNvPr id="2050" name="Picture 2" descr="Employee Icon of Glyph style - Available in SVG, PNG, EPS, AI &amp; Icon fonts"/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734" y="4387555"/>
            <a:ext cx="864000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Training Icon - Free Download, PNG and Vector"/>
          <p:cNvPicPr>
            <a:picLocks noChangeAspect="1" noChangeArrowheads="1"/>
          </p:cNvPicPr>
          <p:nvPr/>
        </p:nvPicPr>
        <p:blipFill>
          <a:blip r:embed="rId10" cstate="hq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0566" y="4479482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Free Icon | Tree"/>
          <p:cNvPicPr>
            <a:picLocks noChangeAspect="1" noChangeArrowheads="1"/>
          </p:cNvPicPr>
          <p:nvPr/>
        </p:nvPicPr>
        <p:blipFill>
          <a:blip r:embed="rId12" cstate="hq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3771" y="4432924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6530423" y="7542635"/>
            <a:ext cx="266529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27%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Mulheres em posições de gestão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453166" y="7555348"/>
            <a:ext cx="30988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36,44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Horas de formação por colaborador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2545279" y="7561232"/>
            <a:ext cx="283437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3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11%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Dos colaboradores fazem voluntariado </a:t>
            </a:r>
          </a:p>
        </p:txBody>
      </p:sp>
      <p:pic>
        <p:nvPicPr>
          <p:cNvPr id="2056" name="Picture 8" descr="Free Icon | Woman"/>
          <p:cNvPicPr>
            <a:picLocks noChangeAspect="1" noChangeArrowheads="1"/>
          </p:cNvPicPr>
          <p:nvPr/>
        </p:nvPicPr>
        <p:blipFill>
          <a:blip r:embed="rId14" cstate="hq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3440" y="6712861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Conexão reta 16"/>
          <p:cNvCxnSpPr/>
          <p:nvPr/>
        </p:nvCxnSpPr>
        <p:spPr>
          <a:xfrm>
            <a:off x="1901259" y="8650631"/>
            <a:ext cx="103316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xão reta 17"/>
          <p:cNvCxnSpPr/>
          <p:nvPr/>
        </p:nvCxnSpPr>
        <p:spPr>
          <a:xfrm>
            <a:off x="5868825" y="8928709"/>
            <a:ext cx="103316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4" descr="Training Icon - Free Download, PNG and Vector"/>
          <p:cNvPicPr>
            <a:picLocks noChangeAspect="1" noChangeArrowheads="1"/>
          </p:cNvPicPr>
          <p:nvPr/>
        </p:nvPicPr>
        <p:blipFill>
          <a:blip r:embed="rId10" cstate="hq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0566" y="6724964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6" descr="Free Icon | Tree"/>
          <p:cNvPicPr>
            <a:picLocks noChangeAspect="1" noChangeArrowheads="1"/>
          </p:cNvPicPr>
          <p:nvPr/>
        </p:nvPicPr>
        <p:blipFill>
          <a:blip r:embed="rId12" cstate="hq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3771" y="6694861"/>
            <a:ext cx="68400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Conexão reta 28"/>
          <p:cNvCxnSpPr/>
          <p:nvPr/>
        </p:nvCxnSpPr>
        <p:spPr>
          <a:xfrm>
            <a:off x="5868825" y="4164203"/>
            <a:ext cx="103316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tângulo 32"/>
          <p:cNvSpPr/>
          <p:nvPr/>
        </p:nvSpPr>
        <p:spPr>
          <a:xfrm>
            <a:off x="5429061" y="2775734"/>
            <a:ext cx="11470288" cy="21441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3200"/>
              </a:lnSpc>
            </a:pPr>
            <a:r>
              <a:rPr lang="pt-PT" sz="2000" dirty="0">
                <a:solidFill>
                  <a:srgbClr val="FFFFFF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Somos uma empresa que centra a sua atividade na solidez financeira, no desempenho operacional e na transição para uma energia verde enquanto veículo para o desenvolvimento do capital humano e </a:t>
            </a:r>
            <a:r>
              <a:rPr lang="pt-PT" sz="2000" b="1" dirty="0">
                <a:solidFill>
                  <a:srgbClr val="FFFFFF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Sustentabilidade</a:t>
            </a:r>
            <a:r>
              <a:rPr lang="pt-PT" sz="2000" dirty="0">
                <a:solidFill>
                  <a:srgbClr val="FFFFFF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 de toda a comunidade.</a:t>
            </a:r>
          </a:p>
          <a:p>
            <a:pPr algn="just">
              <a:lnSpc>
                <a:spcPts val="3200"/>
              </a:lnSpc>
            </a:pPr>
            <a:endParaRPr lang="pt-PT" sz="2000" dirty="0">
              <a:solidFill>
                <a:srgbClr val="FFFFFF"/>
              </a:solidFill>
              <a:latin typeface="Leelawadee UI" panose="020B0502040204020203" pitchFamily="34" charset="-34"/>
              <a:cs typeface="Leelawadee UI" panose="020B0502040204020203" pitchFamily="34" charset="-34"/>
            </a:endParaRPr>
          </a:p>
          <a:p>
            <a:pPr algn="just">
              <a:lnSpc>
                <a:spcPts val="3200"/>
              </a:lnSpc>
            </a:pPr>
            <a:endParaRPr lang="pt-PT" sz="2000" dirty="0">
              <a:solidFill>
                <a:srgbClr val="FFFFFF"/>
              </a:solidFill>
              <a:latin typeface="Leelawadee UI" panose="020B0502040204020203" pitchFamily="34" charset="-34"/>
              <a:cs typeface="Leelawadee UI" panose="020B0502040204020203" pitchFamily="34" charset="-34"/>
            </a:endParaRPr>
          </a:p>
        </p:txBody>
      </p:sp>
      <p:sp>
        <p:nvSpPr>
          <p:cNvPr id="20" name="Retângulo 24"/>
          <p:cNvSpPr/>
          <p:nvPr/>
        </p:nvSpPr>
        <p:spPr>
          <a:xfrm>
            <a:off x="9086354" y="647050"/>
            <a:ext cx="3683515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3500" b="1" dirty="0">
                <a:solidFill>
                  <a:srgbClr val="FFFFFF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MISSÃO DA REN</a:t>
            </a:r>
          </a:p>
        </p:txBody>
      </p:sp>
      <p:sp>
        <p:nvSpPr>
          <p:cNvPr id="25" name="Retângulo 3"/>
          <p:cNvSpPr/>
          <p:nvPr/>
        </p:nvSpPr>
        <p:spPr>
          <a:xfrm>
            <a:off x="5429062" y="1295191"/>
            <a:ext cx="112894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3200"/>
              </a:lnSpc>
            </a:pPr>
            <a:r>
              <a:rPr lang="pt-PT" sz="2000" dirty="0">
                <a:solidFill>
                  <a:srgbClr val="FFFFFF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Garantir o </a:t>
            </a:r>
            <a:r>
              <a:rPr lang="pt-PT" sz="2000" b="1" dirty="0">
                <a:solidFill>
                  <a:srgbClr val="FFFFFF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fornecimento ininterrupto de eletricidade e gás</a:t>
            </a:r>
            <a:r>
              <a:rPr lang="pt-PT" sz="2000" dirty="0">
                <a:solidFill>
                  <a:srgbClr val="FFFFFF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, ao menor custo, satisfazendo critérios de qualidade e de segurança, mantendo o equilíbrio entre a oferta e a procura em tempo real, e </a:t>
            </a:r>
            <a:r>
              <a:rPr lang="pt-PT" sz="2000" b="1" dirty="0">
                <a:solidFill>
                  <a:srgbClr val="FFFFFF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assegurando as condições de sistema que viabilizam o mercado de energia.</a:t>
            </a:r>
          </a:p>
        </p:txBody>
      </p:sp>
    </p:spTree>
    <p:extLst>
      <p:ext uri="{BB962C8B-B14F-4D97-AF65-F5344CB8AC3E}">
        <p14:creationId xmlns:p14="http://schemas.microsoft.com/office/powerpoint/2010/main" val="37706035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ção do Texto 10"/>
          <p:cNvSpPr>
            <a:spLocks noGrp="1"/>
          </p:cNvSpPr>
          <p:nvPr>
            <p:ph type="body" sz="quarter" idx="10"/>
          </p:nvPr>
        </p:nvSpPr>
        <p:spPr>
          <a:xfrm>
            <a:off x="2018757" y="1043288"/>
            <a:ext cx="12749101" cy="776979"/>
          </a:xfrm>
        </p:spPr>
        <p:txBody>
          <a:bodyPr>
            <a:normAutofit/>
          </a:bodyPr>
          <a:lstStyle/>
          <a:p>
            <a:r>
              <a:rPr lang="pt-PT" dirty="0"/>
              <a:t>Integração de novos gases nas infraestruturas</a:t>
            </a:r>
          </a:p>
          <a:p>
            <a:endParaRPr lang="pt-PT" dirty="0"/>
          </a:p>
        </p:txBody>
      </p:sp>
      <p:sp>
        <p:nvSpPr>
          <p:cNvPr id="12" name="Marcador de Posição do Texto 11"/>
          <p:cNvSpPr>
            <a:spLocks noGrp="1"/>
          </p:cNvSpPr>
          <p:nvPr>
            <p:ph type="body" sz="quarter" idx="11"/>
          </p:nvPr>
        </p:nvSpPr>
        <p:spPr>
          <a:xfrm>
            <a:off x="2018758" y="1659718"/>
            <a:ext cx="9056971" cy="393700"/>
          </a:xfrm>
        </p:spPr>
        <p:txBody>
          <a:bodyPr>
            <a:normAutofit lnSpcReduction="10000"/>
          </a:bodyPr>
          <a:lstStyle/>
          <a:p>
            <a:r>
              <a:rPr lang="pt-PT" dirty="0">
                <a:solidFill>
                  <a:srgbClr val="00A883"/>
                </a:solidFill>
              </a:rPr>
              <a:t>Transição energética em Portugal e na Europa</a:t>
            </a:r>
          </a:p>
        </p:txBody>
      </p:sp>
      <p:sp>
        <p:nvSpPr>
          <p:cNvPr id="7" name="Oval 4">
            <a:extLst>
              <a:ext uri="{FF2B5EF4-FFF2-40B4-BE49-F238E27FC236}">
                <a16:creationId xmlns:a16="http://schemas.microsoft.com/office/drawing/2014/main" id="{BB18DEE4-EC09-4156-A890-4A59AA4B29BA}"/>
              </a:ext>
            </a:extLst>
          </p:cNvPr>
          <p:cNvSpPr txBox="1"/>
          <p:nvPr/>
        </p:nvSpPr>
        <p:spPr>
          <a:xfrm>
            <a:off x="969417" y="1149164"/>
            <a:ext cx="936608" cy="895627"/>
          </a:xfrm>
          <a:prstGeom prst="rect">
            <a:avLst/>
          </a:prstGeom>
          <a:solidFill>
            <a:srgbClr val="0F2E85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LnTx/>
                <a:uFillTx/>
                <a:latin typeface="Calibri"/>
                <a:ea typeface="+mn-ea"/>
                <a:cs typeface="Rubik" panose="00000500000000000000" pitchFamily="2" charset="-79"/>
              </a:rPr>
              <a:t>3</a:t>
            </a: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 rotWithShape="1">
          <a:blip r:embed="rId3"/>
          <a:srcRect t="28260" r="5956" b="3162"/>
          <a:stretch/>
        </p:blipFill>
        <p:spPr>
          <a:xfrm>
            <a:off x="12760349" y="2586744"/>
            <a:ext cx="4135158" cy="4018462"/>
          </a:xfrm>
          <a:prstGeom prst="rect">
            <a:avLst/>
          </a:prstGeom>
        </p:spPr>
      </p:pic>
      <p:pic>
        <p:nvPicPr>
          <p:cNvPr id="89" name="Picture 14" descr="https://ec.europa.eu/energy/sites/ener/files/styles/main_image_static_page/public/cop24_lts_page.png?itok=HBX-qUr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433" y="3708211"/>
            <a:ext cx="3553415" cy="1421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0" name="Group 89"/>
          <p:cNvGrpSpPr>
            <a:grpSpLocks noChangeAspect="1"/>
          </p:cNvGrpSpPr>
          <p:nvPr/>
        </p:nvGrpSpPr>
        <p:grpSpPr>
          <a:xfrm>
            <a:off x="677952" y="4605964"/>
            <a:ext cx="3684590" cy="2028830"/>
            <a:chOff x="292255" y="1485511"/>
            <a:chExt cx="4950405" cy="2507798"/>
          </a:xfrm>
        </p:grpSpPr>
        <p:pic>
          <p:nvPicPr>
            <p:cNvPr id="91" name="Picture 16" descr="European Commissio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8997" y="1485511"/>
              <a:ext cx="987425" cy="4879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2" name="Group 91"/>
            <p:cNvGrpSpPr/>
            <p:nvPr/>
          </p:nvGrpSpPr>
          <p:grpSpPr>
            <a:xfrm>
              <a:off x="292255" y="2235946"/>
              <a:ext cx="4950405" cy="1757363"/>
              <a:chOff x="292255" y="2235946"/>
              <a:chExt cx="4950405" cy="1757363"/>
            </a:xfrm>
          </p:grpSpPr>
          <p:pic>
            <p:nvPicPr>
              <p:cNvPr id="93" name="Picture 92" descr="https://ec.europa.eu/energy/sites/ener/files/styles/main_image_static_page/public/cleanenergymain_0.png?itok=EvZqAoCp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2255" y="2235946"/>
                <a:ext cx="4774167" cy="17573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4" name="Rectangle 93"/>
              <p:cNvSpPr/>
              <p:nvPr/>
            </p:nvSpPr>
            <p:spPr>
              <a:xfrm>
                <a:off x="4567567" y="2235946"/>
                <a:ext cx="675093" cy="37505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9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030</a:t>
                </a:r>
                <a:endParaRPr lang="pt-PT" sz="9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95" name="Group 94"/>
          <p:cNvGrpSpPr>
            <a:grpSpLocks noChangeAspect="1"/>
          </p:cNvGrpSpPr>
          <p:nvPr/>
        </p:nvGrpSpPr>
        <p:grpSpPr>
          <a:xfrm>
            <a:off x="4676355" y="3739856"/>
            <a:ext cx="3944137" cy="2872243"/>
            <a:chOff x="5570840" y="1505392"/>
            <a:chExt cx="6246509" cy="4522278"/>
          </a:xfrm>
        </p:grpSpPr>
        <p:pic>
          <p:nvPicPr>
            <p:cNvPr id="96" name="Picture 9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570840" y="2512945"/>
              <a:ext cx="6246509" cy="3514725"/>
            </a:xfrm>
            <a:prstGeom prst="rect">
              <a:avLst/>
            </a:prstGeom>
          </p:spPr>
        </p:pic>
        <p:pic>
          <p:nvPicPr>
            <p:cNvPr id="97" name="Picture 96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570912" y="1608151"/>
              <a:ext cx="3246437" cy="730596"/>
            </a:xfrm>
            <a:prstGeom prst="rect">
              <a:avLst/>
            </a:prstGeom>
          </p:spPr>
        </p:pic>
        <p:pic>
          <p:nvPicPr>
            <p:cNvPr id="98" name="Picture 9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737225" y="1505392"/>
              <a:ext cx="790575" cy="833355"/>
            </a:xfrm>
            <a:prstGeom prst="rect">
              <a:avLst/>
            </a:prstGeom>
          </p:spPr>
        </p:pic>
      </p:grpSp>
      <p:pic>
        <p:nvPicPr>
          <p:cNvPr id="99" name="Picture 2" descr="Consulta Pública: Plano Nacional de Energia - Clima 2030 (PNEC)NOCTULA –  Consultores em Ambiente | Serviços de consultoria ambiental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49" t="28934" r="9906" b="30555"/>
          <a:stretch/>
        </p:blipFill>
        <p:spPr bwMode="auto">
          <a:xfrm>
            <a:off x="4587443" y="5517242"/>
            <a:ext cx="4033049" cy="115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0" name="Group 99"/>
          <p:cNvGrpSpPr/>
          <p:nvPr/>
        </p:nvGrpSpPr>
        <p:grpSpPr>
          <a:xfrm>
            <a:off x="1906025" y="2513174"/>
            <a:ext cx="861045" cy="861045"/>
            <a:chOff x="2750446" y="1217"/>
            <a:chExt cx="1148060" cy="1148060"/>
          </a:xfrm>
          <a:solidFill>
            <a:schemeClr val="accent4"/>
          </a:solidFill>
        </p:grpSpPr>
        <p:sp>
          <p:nvSpPr>
            <p:cNvPr id="101" name="Oval 100"/>
            <p:cNvSpPr/>
            <p:nvPr/>
          </p:nvSpPr>
          <p:spPr>
            <a:xfrm>
              <a:off x="2750446" y="1217"/>
              <a:ext cx="1148060" cy="1148060"/>
            </a:xfrm>
            <a:prstGeom prst="ellipse">
              <a:avLst/>
            </a:prstGeom>
            <a:solidFill>
              <a:srgbClr val="1C85BA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2" name="Oval 4"/>
            <p:cNvSpPr txBox="1"/>
            <p:nvPr/>
          </p:nvSpPr>
          <p:spPr>
            <a:xfrm>
              <a:off x="2918575" y="169346"/>
              <a:ext cx="811802" cy="8118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2800">
                  <a:solidFill>
                    <a:srgbClr val="FFFFFF"/>
                  </a:solidFill>
                  <a:latin typeface="Leelawadee UI Semilight" panose="020B0402040204020203" pitchFamily="34" charset="-34"/>
                  <a:cs typeface="Leelawadee UI Semilight" panose="020B0402040204020203" pitchFamily="34" charset="-34"/>
                </a:defRPr>
              </a:lvl1pPr>
            </a:lstStyle>
            <a:p>
              <a:r>
                <a:rPr lang="pt-PT" sz="2400" dirty="0"/>
                <a:t>EU</a:t>
              </a:r>
              <a:endParaRPr lang="en-US" sz="2400" dirty="0"/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6353455" y="2513174"/>
            <a:ext cx="861045" cy="861045"/>
            <a:chOff x="2750446" y="1217"/>
            <a:chExt cx="1148060" cy="1148060"/>
          </a:xfrm>
          <a:solidFill>
            <a:schemeClr val="accent4"/>
          </a:solidFill>
        </p:grpSpPr>
        <p:sp>
          <p:nvSpPr>
            <p:cNvPr id="104" name="Oval 103"/>
            <p:cNvSpPr/>
            <p:nvPr/>
          </p:nvSpPr>
          <p:spPr>
            <a:xfrm>
              <a:off x="2750446" y="1217"/>
              <a:ext cx="1148060" cy="1148060"/>
            </a:xfrm>
            <a:prstGeom prst="ellipse">
              <a:avLst/>
            </a:prstGeom>
            <a:solidFill>
              <a:srgbClr val="1C85BA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5" name="Oval 4"/>
            <p:cNvSpPr txBox="1"/>
            <p:nvPr/>
          </p:nvSpPr>
          <p:spPr>
            <a:xfrm>
              <a:off x="2973167" y="169346"/>
              <a:ext cx="811803" cy="8118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2800">
                  <a:solidFill>
                    <a:srgbClr val="FFFFFF"/>
                  </a:solidFill>
                  <a:latin typeface="Leelawadee UI Semilight" panose="020B0402040204020203" pitchFamily="34" charset="-34"/>
                  <a:cs typeface="Leelawadee UI Semilight" panose="020B0402040204020203" pitchFamily="34" charset="-34"/>
                </a:defRPr>
              </a:lvl1pPr>
            </a:lstStyle>
            <a:p>
              <a:r>
                <a:rPr lang="pt-PT" sz="2400" dirty="0"/>
                <a:t>PT</a:t>
              </a:r>
              <a:endParaRPr lang="en-US" sz="2400" dirty="0"/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10214685" y="2474099"/>
            <a:ext cx="861045" cy="861045"/>
            <a:chOff x="2750446" y="1217"/>
            <a:chExt cx="1148060" cy="1148060"/>
          </a:xfrm>
          <a:solidFill>
            <a:schemeClr val="accent4"/>
          </a:solidFill>
        </p:grpSpPr>
        <p:sp>
          <p:nvSpPr>
            <p:cNvPr id="107" name="Oval 106"/>
            <p:cNvSpPr/>
            <p:nvPr/>
          </p:nvSpPr>
          <p:spPr>
            <a:xfrm>
              <a:off x="2750446" y="1217"/>
              <a:ext cx="1148060" cy="1148060"/>
            </a:xfrm>
            <a:prstGeom prst="ellipse">
              <a:avLst/>
            </a:prstGeom>
            <a:solidFill>
              <a:srgbClr val="1C85BA">
                <a:alpha val="8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8" name="Oval 4"/>
            <p:cNvSpPr txBox="1"/>
            <p:nvPr/>
          </p:nvSpPr>
          <p:spPr>
            <a:xfrm>
              <a:off x="2828073" y="169608"/>
              <a:ext cx="955105" cy="8118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2800">
                  <a:solidFill>
                    <a:srgbClr val="FFFFFF"/>
                  </a:solidFill>
                  <a:latin typeface="Leelawadee UI Semilight" panose="020B0402040204020203" pitchFamily="34" charset="-34"/>
                  <a:cs typeface="Leelawadee UI Semilight" panose="020B0402040204020203" pitchFamily="34" charset="-34"/>
                </a:defRPr>
              </a:lvl1pPr>
            </a:lstStyle>
            <a:p>
              <a:r>
                <a:rPr lang="pt-PT" sz="2400" spc="-150" dirty="0"/>
                <a:t>SNG</a:t>
              </a:r>
              <a:endParaRPr lang="en-US" sz="2400" spc="-150" dirty="0"/>
            </a:p>
          </p:txBody>
        </p:sp>
      </p:grpSp>
      <p:pic>
        <p:nvPicPr>
          <p:cNvPr id="109" name="Picture 108"/>
          <p:cNvPicPr>
            <a:picLocks noChangeAspect="1"/>
          </p:cNvPicPr>
          <p:nvPr/>
        </p:nvPicPr>
        <p:blipFill rotWithShape="1">
          <a:blip r:embed="rId11"/>
          <a:srcRect t="49682"/>
          <a:stretch/>
        </p:blipFill>
        <p:spPr>
          <a:xfrm>
            <a:off x="9041999" y="5052298"/>
            <a:ext cx="2946476" cy="1203925"/>
          </a:xfrm>
          <a:prstGeom prst="rect">
            <a:avLst/>
          </a:prstGeom>
        </p:spPr>
      </p:pic>
      <p:pic>
        <p:nvPicPr>
          <p:cNvPr id="110" name="Picture 10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41998" y="3511157"/>
            <a:ext cx="2946477" cy="1382914"/>
          </a:xfrm>
          <a:prstGeom prst="rect">
            <a:avLst/>
          </a:prstGeom>
        </p:spPr>
      </p:pic>
      <p:cxnSp>
        <p:nvCxnSpPr>
          <p:cNvPr id="111" name="Straight Arrow Connector 110"/>
          <p:cNvCxnSpPr/>
          <p:nvPr/>
        </p:nvCxnSpPr>
        <p:spPr>
          <a:xfrm>
            <a:off x="3135290" y="2943696"/>
            <a:ext cx="2896013" cy="0"/>
          </a:xfrm>
          <a:prstGeom prst="straightConnector1">
            <a:avLst/>
          </a:prstGeom>
          <a:ln w="28575">
            <a:solidFill>
              <a:srgbClr val="3C95C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2" name="Rectangle 111"/>
          <p:cNvSpPr/>
          <p:nvPr/>
        </p:nvSpPr>
        <p:spPr>
          <a:xfrm>
            <a:off x="648995" y="6941801"/>
            <a:ext cx="11460412" cy="2305627"/>
          </a:xfrm>
          <a:prstGeom prst="rect">
            <a:avLst/>
          </a:prstGeo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t-PT" sz="22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As políticas públicas da UE e de Portugal têm metas ambiciosas de redução do consumo de combustíveis fósseis e de aumento das fontes renováveis de energia ​​como base para controlar os custos de energia e garantir a segurança de abastecimento a longo prazo.</a:t>
            </a:r>
          </a:p>
          <a:p>
            <a:endParaRPr lang="pt-PT" sz="1400" dirty="0">
              <a:solidFill>
                <a:srgbClr val="FFFFFF"/>
              </a:solidFill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  <a:p>
            <a:r>
              <a:rPr lang="pt-PT" sz="22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Desenvolvimento do H</a:t>
            </a:r>
            <a:r>
              <a:rPr lang="pt-PT" sz="2200" b="1" baseline="-250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2</a:t>
            </a:r>
            <a:r>
              <a:rPr lang="pt-PT" sz="22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 tem papel relevante na redução da dependência energética da UE!</a:t>
            </a: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601231" y="7365876"/>
            <a:ext cx="4373130" cy="1852365"/>
          </a:xfrm>
          <a:prstGeom prst="rect">
            <a:avLst/>
          </a:prstGeom>
        </p:spPr>
      </p:pic>
      <p:sp>
        <p:nvSpPr>
          <p:cNvPr id="114" name="Rectangle 113"/>
          <p:cNvSpPr/>
          <p:nvPr/>
        </p:nvSpPr>
        <p:spPr>
          <a:xfrm>
            <a:off x="8918644" y="6270133"/>
            <a:ext cx="318228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i="1" dirty="0">
                <a:solidFill>
                  <a:srgbClr val="272B30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Regulations n.º 806-B &amp; 806-C/2022</a:t>
            </a:r>
            <a:endParaRPr lang="en-US" sz="1400" i="1" dirty="0">
              <a:solidFill>
                <a:srgbClr val="272B30"/>
              </a:solidFill>
              <a:effectLst/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115" name="Straight Arrow Connector 114"/>
          <p:cNvCxnSpPr/>
          <p:nvPr/>
        </p:nvCxnSpPr>
        <p:spPr>
          <a:xfrm>
            <a:off x="7697598" y="2949247"/>
            <a:ext cx="2077572" cy="3130"/>
          </a:xfrm>
          <a:prstGeom prst="straightConnector1">
            <a:avLst/>
          </a:prstGeom>
          <a:ln w="28575">
            <a:solidFill>
              <a:srgbClr val="3C95C2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6" name="Isosceles Triangle 115"/>
          <p:cNvSpPr/>
          <p:nvPr/>
        </p:nvSpPr>
        <p:spPr>
          <a:xfrm rot="5400000">
            <a:off x="10426272" y="4426378"/>
            <a:ext cx="3788822" cy="214614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Isosceles Triangle 116"/>
          <p:cNvSpPr/>
          <p:nvPr/>
        </p:nvSpPr>
        <p:spPr>
          <a:xfrm>
            <a:off x="12713249" y="6941801"/>
            <a:ext cx="4182257" cy="22646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8" name="Group 117"/>
          <p:cNvGrpSpPr/>
          <p:nvPr/>
        </p:nvGrpSpPr>
        <p:grpSpPr>
          <a:xfrm>
            <a:off x="15966794" y="2250149"/>
            <a:ext cx="1116438" cy="1074667"/>
            <a:chOff x="15948510" y="2298126"/>
            <a:chExt cx="1116438" cy="1074667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119" name="Oval 118"/>
            <p:cNvSpPr/>
            <p:nvPr/>
          </p:nvSpPr>
          <p:spPr>
            <a:xfrm>
              <a:off x="15948510" y="2298126"/>
              <a:ext cx="1116438" cy="1074667"/>
            </a:xfrm>
            <a:prstGeom prst="ellipse">
              <a:avLst/>
            </a:prstGeom>
            <a:solidFill>
              <a:srgbClr val="0F2E85"/>
            </a:solidFill>
            <a:ln>
              <a:noFill/>
            </a:ln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0" name="Oval 4"/>
            <p:cNvSpPr txBox="1"/>
            <p:nvPr/>
          </p:nvSpPr>
          <p:spPr>
            <a:xfrm>
              <a:off x="16069970" y="2566326"/>
              <a:ext cx="880929" cy="608852"/>
            </a:xfrm>
            <a:prstGeom prst="rect">
              <a:avLst/>
            </a:prstGeom>
            <a:solidFill>
              <a:srgbClr val="0F2E8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239" tIns="5239" rIns="5239" bIns="5239" numCol="1" spcCol="1270" anchor="ctr" anchorCtr="0">
              <a:noAutofit/>
            </a:bodyPr>
            <a:lstStyle/>
            <a:p>
              <a:pPr algn="ctr" defTabSz="3500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dirty="0">
                  <a:latin typeface="Leelawadee" panose="020B0502040204020203" pitchFamily="34" charset="-34"/>
                  <a:cs typeface="Leelawadee" panose="020B0502040204020203" pitchFamily="34" charset="-34"/>
                </a:rPr>
                <a:t>Mercado</a:t>
              </a:r>
            </a:p>
            <a:p>
              <a:pPr algn="ctr" defTabSz="35004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dirty="0">
                  <a:latin typeface="Leelawadee" panose="020B0502040204020203" pitchFamily="34" charset="-34"/>
                  <a:cs typeface="Leelawadee" panose="020B0502040204020203" pitchFamily="34" charset="-34"/>
                </a:rPr>
                <a:t>H</a:t>
              </a:r>
              <a:r>
                <a:rPr lang="en-US" sz="1600" b="1" baseline="-25000" dirty="0">
                  <a:latin typeface="Leelawadee" panose="020B0502040204020203" pitchFamily="34" charset="-34"/>
                  <a:cs typeface="Leelawadee" panose="020B0502040204020203" pitchFamily="34" charset="-34"/>
                </a:rPr>
                <a:t>2</a:t>
              </a:r>
              <a:r>
                <a:rPr lang="en-US" sz="1600" b="1" dirty="0">
                  <a:latin typeface="Leelawadee" panose="020B0502040204020203" pitchFamily="34" charset="-34"/>
                  <a:cs typeface="Leelawadee" panose="020B0502040204020203" pitchFamily="34" charset="-34"/>
                </a:rPr>
                <a:t> EU</a:t>
              </a:r>
            </a:p>
          </p:txBody>
        </p:sp>
      </p:grpSp>
      <p:sp>
        <p:nvSpPr>
          <p:cNvPr id="38" name="Rectangle 37"/>
          <p:cNvSpPr/>
          <p:nvPr/>
        </p:nvSpPr>
        <p:spPr>
          <a:xfrm>
            <a:off x="13198942" y="2292615"/>
            <a:ext cx="25963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i="1" dirty="0">
                <a:solidFill>
                  <a:srgbClr val="272B30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uropean Hydrogen Backbone</a:t>
            </a:r>
            <a:endParaRPr lang="en-US" sz="1400" i="1" dirty="0">
              <a:solidFill>
                <a:srgbClr val="272B30"/>
              </a:solidFill>
              <a:effectLst/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9551648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ção do Texto 10"/>
          <p:cNvSpPr>
            <a:spLocks noGrp="1"/>
          </p:cNvSpPr>
          <p:nvPr>
            <p:ph type="body" sz="quarter" idx="10"/>
          </p:nvPr>
        </p:nvSpPr>
        <p:spPr>
          <a:xfrm>
            <a:off x="2018757" y="1043288"/>
            <a:ext cx="12749101" cy="776979"/>
          </a:xfrm>
        </p:spPr>
        <p:txBody>
          <a:bodyPr>
            <a:normAutofit/>
          </a:bodyPr>
          <a:lstStyle/>
          <a:p>
            <a:r>
              <a:rPr lang="pt-PT" dirty="0"/>
              <a:t>Planeamento de Gases Renováveis</a:t>
            </a:r>
          </a:p>
        </p:txBody>
      </p:sp>
      <p:sp>
        <p:nvSpPr>
          <p:cNvPr id="12" name="Marcador de Posição do Texto 11"/>
          <p:cNvSpPr>
            <a:spLocks noGrp="1"/>
          </p:cNvSpPr>
          <p:nvPr>
            <p:ph type="body" sz="quarter" idx="11"/>
          </p:nvPr>
        </p:nvSpPr>
        <p:spPr>
          <a:xfrm>
            <a:off x="2018758" y="1659717"/>
            <a:ext cx="10346113" cy="552455"/>
          </a:xfrm>
        </p:spPr>
        <p:txBody>
          <a:bodyPr>
            <a:normAutofit/>
          </a:bodyPr>
          <a:lstStyle/>
          <a:p>
            <a:r>
              <a:rPr lang="pt-PT" dirty="0">
                <a:solidFill>
                  <a:srgbClr val="00A883"/>
                </a:solidFill>
              </a:rPr>
              <a:t>O mercado potencial do H</a:t>
            </a:r>
            <a:r>
              <a:rPr lang="pt-PT" baseline="-25000" dirty="0">
                <a:solidFill>
                  <a:srgbClr val="00A883"/>
                </a:solidFill>
              </a:rPr>
              <a:t>2</a:t>
            </a:r>
          </a:p>
        </p:txBody>
      </p:sp>
      <p:sp>
        <p:nvSpPr>
          <p:cNvPr id="7" name="Oval 4">
            <a:extLst>
              <a:ext uri="{FF2B5EF4-FFF2-40B4-BE49-F238E27FC236}">
                <a16:creationId xmlns:a16="http://schemas.microsoft.com/office/drawing/2014/main" id="{BB18DEE4-EC09-4156-A890-4A59AA4B29BA}"/>
              </a:ext>
            </a:extLst>
          </p:cNvPr>
          <p:cNvSpPr txBox="1"/>
          <p:nvPr/>
        </p:nvSpPr>
        <p:spPr>
          <a:xfrm>
            <a:off x="969417" y="1149164"/>
            <a:ext cx="936608" cy="895627"/>
          </a:xfrm>
          <a:prstGeom prst="rect">
            <a:avLst/>
          </a:prstGeom>
          <a:solidFill>
            <a:srgbClr val="0F2E85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pt-PT" sz="1400" b="1" kern="0" dirty="0">
                <a:solidFill>
                  <a:schemeClr val="accent6">
                    <a:lumMod val="20000"/>
                    <a:lumOff val="80000"/>
                  </a:schemeClr>
                </a:solidFill>
                <a:latin typeface="Calibri"/>
                <a:cs typeface="Rubik" panose="00000500000000000000" pitchFamily="2" charset="-79"/>
              </a:rPr>
              <a:t>4</a:t>
            </a:r>
            <a:endParaRPr kumimoji="0" lang="pt-PT" sz="1400" b="1" i="0" u="none" strike="noStrike" kern="0" cap="none" spc="0" normalizeH="0" baseline="0" noProof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LnTx/>
              <a:uFillTx/>
              <a:latin typeface="Calibri"/>
              <a:ea typeface="+mn-ea"/>
              <a:cs typeface="Rubik" panose="00000500000000000000" pitchFamily="2" charset="-79"/>
            </a:endParaRPr>
          </a:p>
        </p:txBody>
      </p:sp>
      <p:pic>
        <p:nvPicPr>
          <p:cNvPr id="82" name="Picture 81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3757443" y="2044791"/>
            <a:ext cx="857250" cy="847725"/>
          </a:xfrm>
          <a:prstGeom prst="rect">
            <a:avLst/>
          </a:prstGeom>
        </p:spPr>
      </p:pic>
      <p:sp>
        <p:nvSpPr>
          <p:cNvPr id="92" name="Rectangle 91"/>
          <p:cNvSpPr/>
          <p:nvPr/>
        </p:nvSpPr>
        <p:spPr>
          <a:xfrm>
            <a:off x="11403889" y="3152186"/>
            <a:ext cx="5767515" cy="5509200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>
            <a:spAutoFit/>
          </a:bodyPr>
          <a:lstStyle/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pt-PT" sz="1600" b="1" dirty="0">
                <a:solidFill>
                  <a:schemeClr val="bg1">
                    <a:lumMod val="25000"/>
                  </a:schemeClr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O H</a:t>
            </a:r>
            <a:r>
              <a:rPr lang="pt-PT" sz="1600" b="1" baseline="-25000" dirty="0">
                <a:solidFill>
                  <a:schemeClr val="bg1">
                    <a:lumMod val="25000"/>
                  </a:schemeClr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2</a:t>
            </a:r>
            <a:r>
              <a:rPr lang="pt-PT" sz="1600" b="1" dirty="0">
                <a:solidFill>
                  <a:schemeClr val="bg1">
                    <a:lumMod val="25000"/>
                  </a:schemeClr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 é uma solução energética que potencia a integração de setores </a:t>
            </a:r>
            <a:r>
              <a:rPr lang="pt-PT" sz="1600" dirty="0">
                <a:solidFill>
                  <a:schemeClr val="bg1">
                    <a:lumMod val="25000"/>
                  </a:schemeClr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(gás e eletricidade) de forma sinérgica para captura de fontes renováveis;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pt-PT" sz="1600" b="1" dirty="0">
                <a:solidFill>
                  <a:schemeClr val="bg1">
                    <a:lumMod val="25000"/>
                  </a:schemeClr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REN tem um papel fundamental no processo de transição energética</a:t>
            </a:r>
            <a:r>
              <a:rPr lang="pt-PT" sz="1600" dirty="0">
                <a:solidFill>
                  <a:schemeClr val="bg1">
                    <a:lumMod val="25000"/>
                  </a:schemeClr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 face à posição na cadeia de valor do Setor da Energia;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pt-PT" sz="1600" b="1" dirty="0">
                <a:solidFill>
                  <a:schemeClr val="bg1">
                    <a:lumMod val="25000"/>
                  </a:schemeClr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Infraestruturas são prioritárias para acelerar o processo de descarbonização</a:t>
            </a:r>
            <a:r>
              <a:rPr lang="pt-PT" sz="1600" dirty="0">
                <a:solidFill>
                  <a:schemeClr val="bg1">
                    <a:lumMod val="25000"/>
                  </a:schemeClr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 da economia;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pt-PT" sz="1600" dirty="0">
                <a:solidFill>
                  <a:schemeClr val="bg1">
                    <a:lumMod val="25000"/>
                  </a:schemeClr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Sustentabilidade dos </a:t>
            </a:r>
            <a:r>
              <a:rPr lang="pt-PT" sz="1600" b="1" dirty="0">
                <a:solidFill>
                  <a:schemeClr val="bg1">
                    <a:lumMod val="25000"/>
                  </a:schemeClr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ativos é uma condição de base para a qualidade e segurança de abastecimento de fontes renováveis de energia.</a:t>
            </a:r>
          </a:p>
        </p:txBody>
      </p:sp>
      <p:pic>
        <p:nvPicPr>
          <p:cNvPr id="46" name="Picture 4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FAD0753-897A-5F41-BC0D-8BF3EC43E94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45"/>
          <a:stretch/>
        </p:blipFill>
        <p:spPr>
          <a:xfrm>
            <a:off x="436728" y="2436697"/>
            <a:ext cx="13636606" cy="6916998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40944" y="9448068"/>
            <a:ext cx="8129846" cy="2616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pt-PT" sz="1100" i="1" dirty="0"/>
              <a:t>Fonte: </a:t>
            </a:r>
            <a:r>
              <a:rPr lang="en-US" sz="1100" i="1" dirty="0"/>
              <a:t>World Energy Transitions Outlook: 1.5°C Pathway, IRENA, 2022</a:t>
            </a:r>
            <a:endParaRPr lang="pt-PT" sz="1100" i="1" dirty="0"/>
          </a:p>
        </p:txBody>
      </p:sp>
    </p:spTree>
    <p:extLst>
      <p:ext uri="{BB962C8B-B14F-4D97-AF65-F5344CB8AC3E}">
        <p14:creationId xmlns:p14="http://schemas.microsoft.com/office/powerpoint/2010/main" val="7676528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968151" y="2567264"/>
            <a:ext cx="15424973" cy="801603"/>
          </a:xfrm>
          <a:prstGeom prst="rect">
            <a:avLst/>
          </a:prstGeom>
          <a:solidFill>
            <a:srgbClr val="4BB4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pt-PT" sz="2000" b="1" dirty="0">
              <a:solidFill>
                <a:srgbClr val="FFFFFF"/>
              </a:solidFill>
            </a:endParaRPr>
          </a:p>
        </p:txBody>
      </p:sp>
      <p:sp>
        <p:nvSpPr>
          <p:cNvPr id="11" name="Marcador de Posição do Texto 10"/>
          <p:cNvSpPr>
            <a:spLocks noGrp="1"/>
          </p:cNvSpPr>
          <p:nvPr>
            <p:ph type="body" sz="quarter" idx="10"/>
          </p:nvPr>
        </p:nvSpPr>
        <p:spPr>
          <a:xfrm>
            <a:off x="2018757" y="1043288"/>
            <a:ext cx="12749101" cy="776979"/>
          </a:xfrm>
        </p:spPr>
        <p:txBody>
          <a:bodyPr>
            <a:normAutofit/>
          </a:bodyPr>
          <a:lstStyle/>
          <a:p>
            <a:r>
              <a:rPr lang="pt-PT" dirty="0"/>
              <a:t>Integração de novos gases nas infraestruturas</a:t>
            </a:r>
          </a:p>
        </p:txBody>
      </p:sp>
      <p:sp>
        <p:nvSpPr>
          <p:cNvPr id="12" name="Marcador de Posição do Texto 11"/>
          <p:cNvSpPr>
            <a:spLocks noGrp="1"/>
          </p:cNvSpPr>
          <p:nvPr>
            <p:ph type="body" sz="quarter" idx="11"/>
          </p:nvPr>
        </p:nvSpPr>
        <p:spPr>
          <a:xfrm>
            <a:off x="2018758" y="1659718"/>
            <a:ext cx="11065229" cy="393700"/>
          </a:xfrm>
        </p:spPr>
        <p:txBody>
          <a:bodyPr>
            <a:normAutofit lnSpcReduction="10000"/>
          </a:bodyPr>
          <a:lstStyle/>
          <a:p>
            <a:r>
              <a:rPr lang="pt-PT" dirty="0">
                <a:solidFill>
                  <a:srgbClr val="00A883"/>
                </a:solidFill>
              </a:rPr>
              <a:t>O papel das infraestruturas </a:t>
            </a:r>
          </a:p>
        </p:txBody>
      </p:sp>
      <p:sp>
        <p:nvSpPr>
          <p:cNvPr id="7" name="Oval 4">
            <a:extLst>
              <a:ext uri="{FF2B5EF4-FFF2-40B4-BE49-F238E27FC236}">
                <a16:creationId xmlns:a16="http://schemas.microsoft.com/office/drawing/2014/main" id="{BB18DEE4-EC09-4156-A890-4A59AA4B29BA}"/>
              </a:ext>
            </a:extLst>
          </p:cNvPr>
          <p:cNvSpPr txBox="1"/>
          <p:nvPr/>
        </p:nvSpPr>
        <p:spPr>
          <a:xfrm>
            <a:off x="969417" y="1149164"/>
            <a:ext cx="936608" cy="895627"/>
          </a:xfrm>
          <a:prstGeom prst="rect">
            <a:avLst/>
          </a:prstGeom>
          <a:solidFill>
            <a:srgbClr val="0F2E85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LnTx/>
                <a:uFillTx/>
                <a:latin typeface="Calibri"/>
                <a:ea typeface="+mn-ea"/>
                <a:cs typeface="Rubik" panose="00000500000000000000" pitchFamily="2" charset="-79"/>
              </a:rPr>
              <a:t>5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14001019" y="5056256"/>
            <a:ext cx="182453" cy="1470040"/>
            <a:chOff x="6278371" y="1169097"/>
            <a:chExt cx="128308" cy="1033790"/>
          </a:xfrm>
        </p:grpSpPr>
        <p:cxnSp>
          <p:nvCxnSpPr>
            <p:cNvPr id="16" name="Straight Arrow Connector 15"/>
            <p:cNvCxnSpPr/>
            <p:nvPr/>
          </p:nvCxnSpPr>
          <p:spPr>
            <a:xfrm flipH="1" flipV="1">
              <a:off x="6400349" y="1169097"/>
              <a:ext cx="6330" cy="1033790"/>
            </a:xfrm>
            <a:prstGeom prst="straightConnector1">
              <a:avLst/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/>
            <p:nvPr/>
          </p:nvCxnSpPr>
          <p:spPr>
            <a:xfrm>
              <a:off x="6278371" y="1169098"/>
              <a:ext cx="14185" cy="1033788"/>
            </a:xfrm>
            <a:prstGeom prst="straightConnector1">
              <a:avLst/>
            </a:prstGeom>
            <a:ln w="254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/>
          <p:cNvSpPr txBox="1"/>
          <p:nvPr/>
        </p:nvSpPr>
        <p:spPr>
          <a:xfrm>
            <a:off x="2162551" y="2586406"/>
            <a:ext cx="4326890" cy="50783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300277"/>
            <a:r>
              <a:rPr lang="en-US" sz="40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Cadeia</a:t>
            </a:r>
            <a:r>
              <a:rPr lang="en-US" sz="4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 de Valor H</a:t>
            </a:r>
            <a:r>
              <a:rPr lang="en-US" sz="4000" b="1" baseline="-250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2</a:t>
            </a:r>
          </a:p>
          <a:p>
            <a:pPr defTabSz="1300277"/>
            <a:endParaRPr lang="en-US" sz="2560" dirty="0">
              <a:solidFill>
                <a:prstClr val="black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defTabSz="1300277"/>
            <a:endParaRPr lang="en-US" dirty="0">
              <a:solidFill>
                <a:prstClr val="black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defTabSz="1300277"/>
            <a:r>
              <a:rPr lang="en-US" sz="2560" dirty="0" err="1">
                <a:solidFill>
                  <a:prstClr val="black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rodução</a:t>
            </a:r>
            <a:r>
              <a:rPr lang="en-US" sz="2560" dirty="0">
                <a:solidFill>
                  <a:prstClr val="black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</a:p>
          <a:p>
            <a:pPr defTabSz="1300277"/>
            <a:endParaRPr lang="en-US" sz="2560" dirty="0">
              <a:solidFill>
                <a:prstClr val="black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defTabSz="1300277"/>
            <a:r>
              <a:rPr lang="en-US" sz="2560" b="1" dirty="0" err="1">
                <a:solidFill>
                  <a:schemeClr val="accent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ransporte</a:t>
            </a:r>
            <a:r>
              <a:rPr lang="en-US" sz="2560" b="1" dirty="0">
                <a:solidFill>
                  <a:schemeClr val="accent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</a:p>
          <a:p>
            <a:pPr defTabSz="1300277"/>
            <a:endParaRPr lang="en-US" sz="2560" b="1" dirty="0">
              <a:solidFill>
                <a:schemeClr val="accent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defTabSz="1300277"/>
            <a:r>
              <a:rPr lang="en-US" sz="2560" b="1" dirty="0" err="1">
                <a:solidFill>
                  <a:schemeClr val="accent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rmazenamento</a:t>
            </a:r>
            <a:endParaRPr lang="en-US" sz="2560" b="1" dirty="0">
              <a:solidFill>
                <a:schemeClr val="accent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defTabSz="1300277"/>
            <a:endParaRPr lang="en-US" sz="2560" b="1" dirty="0">
              <a:solidFill>
                <a:schemeClr val="accent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defTabSz="1300277"/>
            <a:r>
              <a:rPr lang="en-US" sz="2560" b="1" dirty="0">
                <a:solidFill>
                  <a:schemeClr val="accent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Distribuição</a:t>
            </a:r>
          </a:p>
          <a:p>
            <a:pPr defTabSz="1300277"/>
            <a:endParaRPr lang="en-US" sz="2560" dirty="0">
              <a:solidFill>
                <a:prstClr val="black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defTabSz="1300277"/>
            <a:r>
              <a:rPr lang="en-US" sz="2560" dirty="0" err="1">
                <a:solidFill>
                  <a:prstClr val="black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sumo</a:t>
            </a:r>
            <a:endParaRPr lang="en-US" sz="2560" dirty="0">
              <a:solidFill>
                <a:prstClr val="black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12341350" y="5517983"/>
            <a:ext cx="3501790" cy="652318"/>
            <a:chOff x="3819058" y="2687152"/>
            <a:chExt cx="2462597" cy="458736"/>
          </a:xfrm>
        </p:grpSpPr>
        <p:sp>
          <p:nvSpPr>
            <p:cNvPr id="20" name="Rounded Rectangle 19"/>
            <p:cNvSpPr/>
            <p:nvPr/>
          </p:nvSpPr>
          <p:spPr>
            <a:xfrm>
              <a:off x="3819058" y="2687152"/>
              <a:ext cx="2462597" cy="458736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00277"/>
              <a:endParaRPr lang="en-US" sz="2560" dirty="0">
                <a:solidFill>
                  <a:prstClr val="white"/>
                </a:solidFill>
                <a:latin typeface="Leelawadee" panose="020B0502040204020203" pitchFamily="34" charset="-34"/>
                <a:cs typeface="Leelawadee" panose="020B0502040204020203" pitchFamily="34" charset="-34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149218" y="2731854"/>
              <a:ext cx="1943907" cy="3419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300277"/>
              <a:r>
                <a:rPr lang="en-US" sz="2560" b="1" dirty="0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Sector Coupling </a:t>
              </a:r>
            </a:p>
          </p:txBody>
        </p:sp>
      </p:grpSp>
      <p:cxnSp>
        <p:nvCxnSpPr>
          <p:cNvPr id="22" name="Straight Arrow Connector 21"/>
          <p:cNvCxnSpPr/>
          <p:nvPr/>
        </p:nvCxnSpPr>
        <p:spPr>
          <a:xfrm flipH="1">
            <a:off x="1989321" y="3655839"/>
            <a:ext cx="1" cy="4174433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13158169" y="4552832"/>
            <a:ext cx="2028119" cy="4862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300277"/>
            <a:r>
              <a:rPr lang="en-US" sz="2560" dirty="0" err="1">
                <a:solidFill>
                  <a:prstClr val="black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lectricidade</a:t>
            </a:r>
            <a:endParaRPr lang="en-US" sz="2560" dirty="0">
              <a:solidFill>
                <a:prstClr val="black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2492247" y="6518871"/>
            <a:ext cx="3281668" cy="4862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300277"/>
            <a:r>
              <a:rPr lang="en-US" sz="2560" dirty="0">
                <a:solidFill>
                  <a:prstClr val="black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NG/GNL/H</a:t>
            </a:r>
            <a:r>
              <a:rPr lang="en-US" sz="2560" baseline="-25000" dirty="0">
                <a:solidFill>
                  <a:prstClr val="black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  <a:r>
              <a:rPr lang="en-US" sz="2560" dirty="0">
                <a:solidFill>
                  <a:prstClr val="black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/Bio-CH4</a:t>
            </a:r>
          </a:p>
        </p:txBody>
      </p:sp>
      <p:sp>
        <p:nvSpPr>
          <p:cNvPr id="25" name="Oval 24"/>
          <p:cNvSpPr/>
          <p:nvPr/>
        </p:nvSpPr>
        <p:spPr>
          <a:xfrm>
            <a:off x="1871114" y="4046945"/>
            <a:ext cx="236413" cy="23641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00277"/>
            <a:endParaRPr lang="en-US" sz="256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1872484" y="4784006"/>
            <a:ext cx="236413" cy="23641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00277"/>
            <a:endParaRPr lang="en-US" sz="256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1871114" y="5570077"/>
            <a:ext cx="236413" cy="23641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00277"/>
            <a:endParaRPr lang="en-US" sz="256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" name="Oval 27"/>
          <p:cNvSpPr/>
          <p:nvPr/>
        </p:nvSpPr>
        <p:spPr>
          <a:xfrm>
            <a:off x="1871114" y="6356148"/>
            <a:ext cx="236413" cy="23641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00277"/>
            <a:endParaRPr lang="en-US" sz="256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1872484" y="7143729"/>
            <a:ext cx="236413" cy="23641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00277"/>
            <a:endParaRPr lang="en-US" sz="256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12032899" y="3855361"/>
            <a:ext cx="4118692" cy="388702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00277"/>
            <a:endParaRPr lang="en-US" sz="2560" dirty="0">
              <a:solidFill>
                <a:prstClr val="white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2329349" y="2586406"/>
            <a:ext cx="321511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300277"/>
            <a:r>
              <a:rPr lang="en-US" sz="40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Custo-eficácia</a:t>
            </a:r>
            <a:endParaRPr lang="en-US" sz="40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3237" y="5732299"/>
            <a:ext cx="3005505" cy="2052706"/>
          </a:xfrm>
          <a:prstGeom prst="rect">
            <a:avLst/>
          </a:prstGeom>
        </p:spPr>
      </p:pic>
      <p:pic>
        <p:nvPicPr>
          <p:cNvPr id="33" name="Picture 2" descr="RELATÓRIO &amp; CONTAS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23"/>
          <a:stretch/>
        </p:blipFill>
        <p:spPr bwMode="auto">
          <a:xfrm>
            <a:off x="7070241" y="4232395"/>
            <a:ext cx="3028501" cy="1038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Isosceles Triangle 33"/>
          <p:cNvSpPr/>
          <p:nvPr/>
        </p:nvSpPr>
        <p:spPr>
          <a:xfrm>
            <a:off x="8067475" y="5364337"/>
            <a:ext cx="926592" cy="10972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35" name="Isosceles Triangle 34"/>
          <p:cNvSpPr/>
          <p:nvPr/>
        </p:nvSpPr>
        <p:spPr>
          <a:xfrm flipV="1">
            <a:off x="8067475" y="5516737"/>
            <a:ext cx="926592" cy="10972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36" name="Picture 2" descr="http://paginas.fe.up.pt/~careerfair/2013/register/public/upload/Logo_REN_Desig_FBranco.png"/>
          <p:cNvPicPr preferRelativeResize="0">
            <a:picLocks noChangeArrowheads="1"/>
          </p:cNvPicPr>
          <p:nvPr/>
        </p:nvPicPr>
        <p:blipFill rotWithShape="1">
          <a:blip r:embed="rId4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54" b="39627"/>
          <a:stretch/>
        </p:blipFill>
        <p:spPr bwMode="auto">
          <a:xfrm>
            <a:off x="8068839" y="2853992"/>
            <a:ext cx="11520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Isosceles Triangle 36"/>
          <p:cNvSpPr/>
          <p:nvPr/>
        </p:nvSpPr>
        <p:spPr>
          <a:xfrm rot="5400000">
            <a:off x="4870927" y="5515164"/>
            <a:ext cx="2406316" cy="34549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48" name="Isosceles Triangle 47"/>
          <p:cNvSpPr/>
          <p:nvPr/>
        </p:nvSpPr>
        <p:spPr>
          <a:xfrm rot="5400000">
            <a:off x="10139115" y="5524940"/>
            <a:ext cx="2406316" cy="34549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968151" y="8271499"/>
            <a:ext cx="15424973" cy="875626"/>
          </a:xfrm>
          <a:prstGeom prst="rect">
            <a:avLst/>
          </a:prstGeo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PT" sz="22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Infraestruturas de rede</a:t>
            </a:r>
            <a:r>
              <a:rPr lang="pt-PT" sz="22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 (eletricidade e gás) constituem elementos </a:t>
            </a:r>
            <a:r>
              <a:rPr lang="pt-PT" sz="22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essenciais para viabilizar a produção, armazenamento e transporte/distribuição de hidrogénio</a:t>
            </a:r>
            <a:r>
              <a:rPr lang="pt-PT" sz="22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 de origem renovável </a:t>
            </a:r>
            <a:r>
              <a:rPr lang="pt-PT" sz="2200" b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de forma escalável e custo-eficaz na génese do mercado de H</a:t>
            </a:r>
            <a:r>
              <a:rPr lang="pt-PT" sz="2200" b="1" baseline="-250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2</a:t>
            </a:r>
            <a:r>
              <a:rPr lang="pt-PT" sz="22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51030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ectangle 85"/>
          <p:cNvSpPr/>
          <p:nvPr/>
        </p:nvSpPr>
        <p:spPr>
          <a:xfrm>
            <a:off x="9774498" y="6644252"/>
            <a:ext cx="6222880" cy="79759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1422"/>
              </a:spcBef>
            </a:pPr>
            <a:r>
              <a:rPr lang="pt-PT" sz="20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            Infraestruturas 100% capacitadas </a:t>
            </a:r>
            <a:endParaRPr lang="en-US" sz="2000" dirty="0">
              <a:solidFill>
                <a:srgbClr val="FFFFFF"/>
              </a:solidFill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</p:txBody>
      </p:sp>
      <p:sp>
        <p:nvSpPr>
          <p:cNvPr id="81" name="Right Arrow 80"/>
          <p:cNvSpPr/>
          <p:nvPr/>
        </p:nvSpPr>
        <p:spPr>
          <a:xfrm rot="5400000">
            <a:off x="240899" y="6333614"/>
            <a:ext cx="834388" cy="679260"/>
          </a:xfrm>
          <a:prstGeom prst="rightArrow">
            <a:avLst>
              <a:gd name="adj1" fmla="val 45512"/>
              <a:gd name="adj2" fmla="val 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ight Arrow 77"/>
          <p:cNvSpPr/>
          <p:nvPr/>
        </p:nvSpPr>
        <p:spPr>
          <a:xfrm>
            <a:off x="490866" y="3304086"/>
            <a:ext cx="16076606" cy="679260"/>
          </a:xfrm>
          <a:prstGeom prst="rightArrow">
            <a:avLst>
              <a:gd name="adj1" fmla="val 45512"/>
              <a:gd name="adj2" fmla="val 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ight Arrow 76"/>
          <p:cNvSpPr/>
          <p:nvPr/>
        </p:nvSpPr>
        <p:spPr>
          <a:xfrm>
            <a:off x="490865" y="6644252"/>
            <a:ext cx="9158101" cy="679260"/>
          </a:xfrm>
          <a:prstGeom prst="rightArrow">
            <a:avLst>
              <a:gd name="adj1" fmla="val 45512"/>
              <a:gd name="adj2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Marcador de Posição do Texto 10"/>
          <p:cNvSpPr>
            <a:spLocks noGrp="1"/>
          </p:cNvSpPr>
          <p:nvPr>
            <p:ph type="body" sz="quarter" idx="10"/>
          </p:nvPr>
        </p:nvSpPr>
        <p:spPr>
          <a:xfrm>
            <a:off x="2018757" y="1043288"/>
            <a:ext cx="12749101" cy="776979"/>
          </a:xfrm>
        </p:spPr>
        <p:txBody>
          <a:bodyPr>
            <a:normAutofit/>
          </a:bodyPr>
          <a:lstStyle/>
          <a:p>
            <a:r>
              <a:rPr lang="pt-PT" dirty="0"/>
              <a:t>Integração de novos gases nas infraestruturas</a:t>
            </a:r>
          </a:p>
        </p:txBody>
      </p:sp>
      <p:sp>
        <p:nvSpPr>
          <p:cNvPr id="12" name="Marcador de Posição do Texto 11"/>
          <p:cNvSpPr>
            <a:spLocks noGrp="1"/>
          </p:cNvSpPr>
          <p:nvPr>
            <p:ph type="body" sz="quarter" idx="11"/>
          </p:nvPr>
        </p:nvSpPr>
        <p:spPr>
          <a:xfrm>
            <a:off x="2018758" y="1659718"/>
            <a:ext cx="11065229" cy="393700"/>
          </a:xfrm>
        </p:spPr>
        <p:txBody>
          <a:bodyPr>
            <a:normAutofit lnSpcReduction="10000"/>
          </a:bodyPr>
          <a:lstStyle/>
          <a:p>
            <a:r>
              <a:rPr lang="pt-PT" dirty="0">
                <a:solidFill>
                  <a:srgbClr val="00A883"/>
                </a:solidFill>
              </a:rPr>
              <a:t>Grupo REN – Adaptação das infraestruturas existentes</a:t>
            </a:r>
          </a:p>
        </p:txBody>
      </p:sp>
      <p:sp>
        <p:nvSpPr>
          <p:cNvPr id="7" name="Oval 4">
            <a:extLst>
              <a:ext uri="{FF2B5EF4-FFF2-40B4-BE49-F238E27FC236}">
                <a16:creationId xmlns:a16="http://schemas.microsoft.com/office/drawing/2014/main" id="{BB18DEE4-EC09-4156-A890-4A59AA4B29BA}"/>
              </a:ext>
            </a:extLst>
          </p:cNvPr>
          <p:cNvSpPr txBox="1"/>
          <p:nvPr/>
        </p:nvSpPr>
        <p:spPr>
          <a:xfrm>
            <a:off x="969417" y="1149164"/>
            <a:ext cx="936608" cy="895627"/>
          </a:xfrm>
          <a:prstGeom prst="rect">
            <a:avLst/>
          </a:prstGeom>
          <a:solidFill>
            <a:srgbClr val="0F2E85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pt-PT" sz="1400" b="1" kern="0" dirty="0">
                <a:solidFill>
                  <a:schemeClr val="accent6">
                    <a:lumMod val="20000"/>
                    <a:lumOff val="80000"/>
                  </a:schemeClr>
                </a:solidFill>
                <a:latin typeface="Calibri"/>
                <a:cs typeface="Rubik" panose="00000500000000000000" pitchFamily="2" charset="-79"/>
              </a:rPr>
              <a:t>6</a:t>
            </a:r>
            <a:endParaRPr kumimoji="0" lang="pt-PT" sz="1400" b="1" i="0" u="none" strike="noStrike" kern="0" cap="none" spc="0" normalizeH="0" baseline="0" noProof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LnTx/>
              <a:uFillTx/>
              <a:latin typeface="Calibri"/>
              <a:ea typeface="+mn-ea"/>
              <a:cs typeface="Rubik" panose="00000500000000000000" pitchFamily="2" charset="-79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969417" y="2307792"/>
            <a:ext cx="15398343" cy="8171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422"/>
              </a:spcBef>
            </a:pPr>
            <a:r>
              <a:rPr lang="pt-PT" sz="4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Programa H</a:t>
            </a:r>
            <a:r>
              <a:rPr lang="pt-PT" sz="4000" b="1" baseline="-250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2</a:t>
            </a:r>
            <a:r>
              <a:rPr lang="pt-PT" sz="4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 REN</a:t>
            </a:r>
          </a:p>
        </p:txBody>
      </p:sp>
      <p:sp>
        <p:nvSpPr>
          <p:cNvPr id="5" name="Rectangle 4"/>
          <p:cNvSpPr/>
          <p:nvPr/>
        </p:nvSpPr>
        <p:spPr>
          <a:xfrm>
            <a:off x="955770" y="3252621"/>
            <a:ext cx="3694023" cy="797592"/>
          </a:xfrm>
          <a:prstGeom prst="rect">
            <a:avLst/>
          </a:prstGeom>
          <a:solidFill>
            <a:srgbClr val="1C85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1422"/>
              </a:spcBef>
            </a:pPr>
            <a:r>
              <a:rPr lang="pt-PT" sz="2000" i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Gap </a:t>
            </a:r>
            <a:r>
              <a:rPr lang="pt-PT" sz="2000" i="1" dirty="0" err="1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Analysis</a:t>
            </a:r>
            <a:r>
              <a:rPr lang="pt-PT" sz="2000" i="1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 </a:t>
            </a:r>
            <a:r>
              <a:rPr lang="pt-PT" sz="20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dos Ativos</a:t>
            </a:r>
            <a:endParaRPr lang="en-US" sz="2000" dirty="0">
              <a:solidFill>
                <a:srgbClr val="FFFFFF"/>
              </a:solidFill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8775720" y="3252621"/>
            <a:ext cx="3694023" cy="797592"/>
          </a:xfrm>
          <a:prstGeom prst="rect">
            <a:avLst/>
          </a:prstGeom>
          <a:solidFill>
            <a:srgbClr val="1C85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1422"/>
              </a:spcBef>
            </a:pPr>
            <a:r>
              <a:rPr lang="pt-PT" sz="20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Gestão de Capacidade</a:t>
            </a:r>
            <a:endParaRPr lang="en-US" sz="2000" dirty="0">
              <a:solidFill>
                <a:srgbClr val="FFFFFF"/>
              </a:solidFill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2677160" y="3252621"/>
            <a:ext cx="3694023" cy="797592"/>
          </a:xfrm>
          <a:prstGeom prst="rect">
            <a:avLst/>
          </a:prstGeom>
          <a:solidFill>
            <a:srgbClr val="1C85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1422"/>
              </a:spcBef>
            </a:pPr>
            <a:r>
              <a:rPr lang="pt-PT" sz="20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Gestão do Sistema</a:t>
            </a:r>
            <a:endParaRPr lang="en-US" sz="2000" dirty="0">
              <a:solidFill>
                <a:srgbClr val="FFFFFF"/>
              </a:solidFill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854614" y="6659998"/>
            <a:ext cx="3694023" cy="797592"/>
          </a:xfrm>
          <a:prstGeom prst="rect">
            <a:avLst/>
          </a:prstGeom>
          <a:solidFill>
            <a:srgbClr val="1C85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1422"/>
              </a:spcBef>
            </a:pPr>
            <a:r>
              <a:rPr lang="pt-PT" sz="20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Certificação de ativos</a:t>
            </a:r>
            <a:endParaRPr lang="en-US" sz="2000" dirty="0">
              <a:solidFill>
                <a:srgbClr val="FFFFFF"/>
              </a:solidFill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068392" y="4113512"/>
            <a:ext cx="344423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Análise da condição dos ativo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i="1" dirty="0">
                <a:latin typeface="Leelawadee" panose="020B0502040204020203" pitchFamily="34" charset="-34"/>
                <a:cs typeface="Leelawadee" panose="020B0502040204020203" pitchFamily="34" charset="-34"/>
              </a:rPr>
              <a:t>Gap </a:t>
            </a:r>
            <a:r>
              <a:rPr lang="pt-PT" sz="1600" i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Analysis</a:t>
            </a:r>
            <a:r>
              <a:rPr lang="pt-PT" sz="1600" i="1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para 10% e 100% de veiculação de H</a:t>
            </a:r>
            <a:r>
              <a:rPr lang="pt-PT" sz="1600" baseline="-25000" dirty="0"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Identificação de plano de investimentos (</a:t>
            </a:r>
            <a:r>
              <a:rPr lang="pt-PT" sz="1600" i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roadmap</a:t>
            </a:r>
            <a:r>
              <a:rPr lang="pt-PT" sz="1600" i="1" dirty="0">
                <a:latin typeface="Leelawadee" panose="020B0502040204020203" pitchFamily="34" charset="-34"/>
                <a:cs typeface="Leelawadee" panose="020B0502040204020203" pitchFamily="34" charset="-34"/>
              </a:rPr>
              <a:t>)</a:t>
            </a:r>
            <a:endParaRPr lang="en-US" sz="1600" i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955769" y="3252622"/>
            <a:ext cx="3694024" cy="283667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/>
        </p:nvSpPr>
        <p:spPr>
          <a:xfrm>
            <a:off x="8781664" y="3252622"/>
            <a:ext cx="3694024" cy="283667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/>
          <p:cNvSpPr txBox="1"/>
          <p:nvPr/>
        </p:nvSpPr>
        <p:spPr>
          <a:xfrm>
            <a:off x="8900611" y="4100257"/>
            <a:ext cx="344423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Análise de capacidade dos ativos do SNG para receção de H</a:t>
            </a:r>
            <a:r>
              <a:rPr lang="pt-PT" sz="1600" baseline="-25000" dirty="0"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 e processo de ligação à red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Optimização</a:t>
            </a: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 das soluções tecnológicas de </a:t>
            </a:r>
            <a:r>
              <a:rPr lang="pt-PT" sz="1600" i="1" dirty="0">
                <a:latin typeface="Leelawadee" panose="020B0502040204020203" pitchFamily="34" charset="-34"/>
                <a:cs typeface="Leelawadee" panose="020B0502040204020203" pitchFamily="34" charset="-34"/>
              </a:rPr>
              <a:t>blending </a:t>
            </a:r>
            <a:endParaRPr lang="en-US" sz="1600" i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12671215" y="3259599"/>
            <a:ext cx="3694024" cy="283667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/>
          <p:cNvSpPr txBox="1"/>
          <p:nvPr/>
        </p:nvSpPr>
        <p:spPr>
          <a:xfrm>
            <a:off x="12802051" y="4130106"/>
            <a:ext cx="344423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Modelos integrados de gestão ORT-OR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Controlo da Qualidade de gás de origem renovável  no SNG (</a:t>
            </a:r>
            <a:r>
              <a:rPr lang="pt-PT" sz="1600" i="1" dirty="0">
                <a:latin typeface="Leelawadee" panose="020B0502040204020203" pitchFamily="34" charset="-34"/>
                <a:cs typeface="Leelawadee" panose="020B0502040204020203" pitchFamily="34" charset="-34"/>
              </a:rPr>
              <a:t>Gas </a:t>
            </a:r>
            <a:r>
              <a:rPr lang="pt-PT" sz="1600" i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Tracking</a:t>
            </a:r>
            <a:r>
              <a:rPr lang="pt-PT" sz="1600" i="1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pt-PT" sz="1600" i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Systems</a:t>
            </a: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)</a:t>
            </a:r>
            <a:endParaRPr lang="en-US" sz="1600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1760" y="3332384"/>
            <a:ext cx="888033" cy="627529"/>
          </a:xfrm>
          <a:prstGeom prst="rect">
            <a:avLst/>
          </a:prstGeom>
        </p:spPr>
      </p:pic>
      <p:sp>
        <p:nvSpPr>
          <p:cNvPr id="57" name="Rectangle 56"/>
          <p:cNvSpPr/>
          <p:nvPr/>
        </p:nvSpPr>
        <p:spPr>
          <a:xfrm>
            <a:off x="4886169" y="3252621"/>
            <a:ext cx="3694023" cy="797592"/>
          </a:xfrm>
          <a:prstGeom prst="rect">
            <a:avLst/>
          </a:prstGeom>
          <a:solidFill>
            <a:srgbClr val="1C85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1422"/>
              </a:spcBef>
            </a:pPr>
            <a:r>
              <a:rPr lang="pt-PT" sz="20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Engenharia e Exploração</a:t>
            </a:r>
            <a:endParaRPr lang="en-US" sz="2000" dirty="0">
              <a:solidFill>
                <a:srgbClr val="FFFFFF"/>
              </a:solidFill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892113" y="3252622"/>
            <a:ext cx="3694024" cy="283667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TextBox 58"/>
          <p:cNvSpPr txBox="1"/>
          <p:nvPr/>
        </p:nvSpPr>
        <p:spPr>
          <a:xfrm>
            <a:off x="5011060" y="4100257"/>
            <a:ext cx="344423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Desenvolvimento de requisitos técnicos para gasodutos e equipamentos 100% H</a:t>
            </a:r>
            <a:r>
              <a:rPr lang="pt-PT" sz="1600" baseline="-25000" dirty="0"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Gestão do capital humano: Competências em H</a:t>
            </a:r>
            <a:r>
              <a:rPr lang="pt-PT" sz="1600" baseline="-25000" dirty="0"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  <a:endParaRPr lang="en-US" sz="1600" baseline="-25000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845320" y="6656422"/>
            <a:ext cx="3694024" cy="283667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60"/>
          <p:cNvSpPr txBox="1"/>
          <p:nvPr/>
        </p:nvSpPr>
        <p:spPr>
          <a:xfrm>
            <a:off x="4964267" y="7504057"/>
            <a:ext cx="344423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Consolidação dos investimentos de conversão de acordo com </a:t>
            </a:r>
            <a:r>
              <a:rPr lang="pt-PT" sz="1600" i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best</a:t>
            </a:r>
            <a:r>
              <a:rPr lang="pt-PT" sz="1600" i="1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pt-PT" sz="1600" i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practices</a:t>
            </a:r>
            <a:r>
              <a:rPr lang="pt-PT" sz="1600" i="1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do seto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Certificação de 3ª parte por entidade externa</a:t>
            </a:r>
            <a:endParaRPr lang="en-US" sz="1600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965063" y="6656422"/>
            <a:ext cx="3694023" cy="797592"/>
          </a:xfrm>
          <a:prstGeom prst="rect">
            <a:avLst/>
          </a:prstGeom>
          <a:solidFill>
            <a:srgbClr val="1C85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Bef>
                <a:spcPts val="1422"/>
              </a:spcBef>
            </a:pPr>
            <a:r>
              <a:rPr lang="pt-PT" sz="2000" dirty="0">
                <a:solidFill>
                  <a:srgbClr val="FFFFFF"/>
                </a:solidFill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Investimento</a:t>
            </a:r>
            <a:endParaRPr lang="en-US" sz="2000" dirty="0">
              <a:solidFill>
                <a:srgbClr val="FFFFFF"/>
              </a:solidFill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955769" y="6652846"/>
            <a:ext cx="3694024" cy="283667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/>
          <p:cNvSpPr txBox="1"/>
          <p:nvPr/>
        </p:nvSpPr>
        <p:spPr>
          <a:xfrm>
            <a:off x="1074716" y="7500481"/>
            <a:ext cx="363976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i="1" dirty="0">
                <a:latin typeface="Leelawadee" panose="020B0502040204020203" pitchFamily="34" charset="-34"/>
                <a:cs typeface="Leelawadee" panose="020B0502040204020203" pitchFamily="34" charset="-34"/>
              </a:rPr>
              <a:t>Roadmap</a:t>
            </a: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 de investimentos para conversão dos ativos para admitir 100% H</a:t>
            </a:r>
            <a:r>
              <a:rPr lang="pt-PT" sz="1600" baseline="-25000" dirty="0"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sz="1600" dirty="0">
                <a:latin typeface="Leelawadee" panose="020B0502040204020203" pitchFamily="34" charset="-34"/>
                <a:cs typeface="Leelawadee" panose="020B0502040204020203" pitchFamily="34" charset="-34"/>
              </a:rPr>
              <a:t>Planeamento da conversão alinhado com a política energética</a:t>
            </a:r>
            <a:endParaRPr lang="en-US" sz="1600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pic>
        <p:nvPicPr>
          <p:cNvPr id="66" name="Picture 65"/>
          <p:cNvPicPr>
            <a:picLocks noChangeAspect="1"/>
          </p:cNvPicPr>
          <p:nvPr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94"/>
          <a:stretch/>
        </p:blipFill>
        <p:spPr>
          <a:xfrm>
            <a:off x="15317792" y="3291098"/>
            <a:ext cx="1059336" cy="565972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2297" y="3291098"/>
            <a:ext cx="1035209" cy="731531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424" y="3280651"/>
            <a:ext cx="1034447" cy="730993"/>
          </a:xfrm>
          <a:prstGeom prst="rect">
            <a:avLst/>
          </a:prstGeom>
        </p:spPr>
      </p:pic>
      <p:grpSp>
        <p:nvGrpSpPr>
          <p:cNvPr id="72" name="Group 71"/>
          <p:cNvGrpSpPr/>
          <p:nvPr/>
        </p:nvGrpSpPr>
        <p:grpSpPr>
          <a:xfrm>
            <a:off x="3756349" y="6741453"/>
            <a:ext cx="893444" cy="627529"/>
            <a:chOff x="7691103" y="6572177"/>
            <a:chExt cx="893444" cy="627529"/>
          </a:xfrm>
        </p:grpSpPr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3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96514" y="6572177"/>
              <a:ext cx="888033" cy="627529"/>
            </a:xfrm>
            <a:prstGeom prst="rect">
              <a:avLst/>
            </a:prstGeom>
          </p:spPr>
        </p:pic>
        <p:pic>
          <p:nvPicPr>
            <p:cNvPr id="71" name="Picture 70"/>
            <p:cNvPicPr>
              <a:picLocks noChangeAspect="1"/>
            </p:cNvPicPr>
            <p:nvPr/>
          </p:nvPicPr>
          <p:blipFill rotWithShape="1">
            <a:blip r:embed="rId3">
              <a:duotone>
                <a:prstClr val="black"/>
                <a:srgbClr val="A6FF97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9658" b="3453"/>
            <a:stretch/>
          </p:blipFill>
          <p:spPr>
            <a:xfrm>
              <a:off x="7691103" y="6572177"/>
              <a:ext cx="447057" cy="605863"/>
            </a:xfrm>
            <a:prstGeom prst="rect">
              <a:avLst/>
            </a:prstGeom>
          </p:spPr>
        </p:pic>
      </p:grpSp>
      <p:pic>
        <p:nvPicPr>
          <p:cNvPr id="73" name="Picture 72" descr="Tick Ok Check · Free vector graphic on Pixabay"/>
          <p:cNvPicPr>
            <a:picLocks noChangeAspect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352" y="6799574"/>
            <a:ext cx="510886" cy="511285"/>
          </a:xfrm>
          <a:prstGeom prst="rect">
            <a:avLst/>
          </a:prstGeom>
        </p:spPr>
      </p:pic>
      <p:sp>
        <p:nvSpPr>
          <p:cNvPr id="79" name="Right Arrow 78"/>
          <p:cNvSpPr/>
          <p:nvPr/>
        </p:nvSpPr>
        <p:spPr>
          <a:xfrm rot="5400000">
            <a:off x="15228028" y="4554346"/>
            <a:ext cx="2819398" cy="679260"/>
          </a:xfrm>
          <a:prstGeom prst="rightArrow">
            <a:avLst>
              <a:gd name="adj1" fmla="val 45512"/>
              <a:gd name="adj2" fmla="val 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ight Arrow 79"/>
          <p:cNvSpPr/>
          <p:nvPr/>
        </p:nvSpPr>
        <p:spPr>
          <a:xfrm>
            <a:off x="672151" y="6065629"/>
            <a:ext cx="16123921" cy="679260"/>
          </a:xfrm>
          <a:prstGeom prst="rightArrow">
            <a:avLst>
              <a:gd name="adj1" fmla="val 45512"/>
              <a:gd name="adj2" fmla="val 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4" name="Picture 83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50000"/>
          </a:blip>
          <a:stretch>
            <a:fillRect/>
          </a:stretch>
        </p:blipFill>
        <p:spPr>
          <a:xfrm>
            <a:off x="9870034" y="6730089"/>
            <a:ext cx="644779" cy="637615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9774498" y="7500481"/>
            <a:ext cx="6222880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b="1" dirty="0">
                <a:latin typeface="Leelawadee" panose="020B0502040204020203" pitchFamily="34" charset="-34"/>
                <a:cs typeface="Leelawadee" panose="020B0502040204020203" pitchFamily="34" charset="-34"/>
              </a:rPr>
              <a:t>Ativos capacitados para veicular 100% de H</a:t>
            </a:r>
            <a:r>
              <a:rPr lang="pt-PT" b="1" baseline="-25000" dirty="0"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PT" b="1" dirty="0">
                <a:latin typeface="Leelawadee" panose="020B0502040204020203" pitchFamily="34" charset="-34"/>
                <a:cs typeface="Leelawadee" panose="020B0502040204020203" pitchFamily="34" charset="-34"/>
              </a:rPr>
              <a:t>Infraestruturas com capacidade de veicular energia ao longo do país, criando competitividade no binómio consumo/produção renovável intermitente e oferecendo acesso ao mercado</a:t>
            </a:r>
            <a:endParaRPr lang="en-US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112703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ção do Texto 10"/>
          <p:cNvSpPr>
            <a:spLocks noGrp="1"/>
          </p:cNvSpPr>
          <p:nvPr>
            <p:ph type="body" sz="quarter" idx="10"/>
          </p:nvPr>
        </p:nvSpPr>
        <p:spPr>
          <a:xfrm>
            <a:off x="2018757" y="1043288"/>
            <a:ext cx="12749101" cy="776979"/>
          </a:xfrm>
        </p:spPr>
        <p:txBody>
          <a:bodyPr>
            <a:normAutofit/>
          </a:bodyPr>
          <a:lstStyle/>
          <a:p>
            <a:r>
              <a:rPr lang="pt-PT" dirty="0"/>
              <a:t>Integração de novos gases nas infraestruturas</a:t>
            </a:r>
          </a:p>
        </p:txBody>
      </p:sp>
      <p:sp>
        <p:nvSpPr>
          <p:cNvPr id="12" name="Marcador de Posição do Texto 11"/>
          <p:cNvSpPr>
            <a:spLocks noGrp="1"/>
          </p:cNvSpPr>
          <p:nvPr>
            <p:ph type="body" sz="quarter" idx="11"/>
          </p:nvPr>
        </p:nvSpPr>
        <p:spPr>
          <a:xfrm>
            <a:off x="2018758" y="1659718"/>
            <a:ext cx="11065229" cy="393700"/>
          </a:xfrm>
        </p:spPr>
        <p:txBody>
          <a:bodyPr>
            <a:normAutofit lnSpcReduction="10000"/>
          </a:bodyPr>
          <a:lstStyle/>
          <a:p>
            <a:r>
              <a:rPr lang="pt-PT" dirty="0">
                <a:solidFill>
                  <a:srgbClr val="00A883"/>
                </a:solidFill>
              </a:rPr>
              <a:t>Grupo REN – </a:t>
            </a:r>
            <a:r>
              <a:rPr lang="pt-PT" dirty="0" err="1">
                <a:solidFill>
                  <a:srgbClr val="00A883"/>
                </a:solidFill>
              </a:rPr>
              <a:t>Valleys</a:t>
            </a:r>
            <a:r>
              <a:rPr lang="pt-PT" dirty="0">
                <a:solidFill>
                  <a:srgbClr val="00A883"/>
                </a:solidFill>
              </a:rPr>
              <a:t> de H</a:t>
            </a:r>
            <a:r>
              <a:rPr lang="pt-PT" baseline="-25000" dirty="0">
                <a:solidFill>
                  <a:srgbClr val="00A883"/>
                </a:solidFill>
              </a:rPr>
              <a:t>2</a:t>
            </a:r>
          </a:p>
        </p:txBody>
      </p:sp>
      <p:sp>
        <p:nvSpPr>
          <p:cNvPr id="7" name="Oval 4">
            <a:extLst>
              <a:ext uri="{FF2B5EF4-FFF2-40B4-BE49-F238E27FC236}">
                <a16:creationId xmlns:a16="http://schemas.microsoft.com/office/drawing/2014/main" id="{BB18DEE4-EC09-4156-A890-4A59AA4B29BA}"/>
              </a:ext>
            </a:extLst>
          </p:cNvPr>
          <p:cNvSpPr txBox="1"/>
          <p:nvPr/>
        </p:nvSpPr>
        <p:spPr>
          <a:xfrm>
            <a:off x="969417" y="1149164"/>
            <a:ext cx="936608" cy="895627"/>
          </a:xfrm>
          <a:prstGeom prst="rect">
            <a:avLst/>
          </a:prstGeom>
          <a:solidFill>
            <a:srgbClr val="0F2E85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LnTx/>
                <a:uFillTx/>
                <a:latin typeface="Calibri"/>
                <a:ea typeface="+mn-ea"/>
                <a:cs typeface="Rubik" panose="00000500000000000000" pitchFamily="2" charset="-79"/>
              </a:rPr>
              <a:t>7</a:t>
            </a:r>
          </a:p>
        </p:txBody>
      </p:sp>
      <p:sp>
        <p:nvSpPr>
          <p:cNvPr id="38" name="Rectangle 37"/>
          <p:cNvSpPr/>
          <p:nvPr/>
        </p:nvSpPr>
        <p:spPr>
          <a:xfrm>
            <a:off x="969418" y="2122040"/>
            <a:ext cx="14898112" cy="7386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pt-PT" sz="4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Agenda H</a:t>
            </a:r>
            <a:r>
              <a:rPr lang="pt-PT" sz="4000" b="1" baseline="-250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2</a:t>
            </a:r>
            <a:r>
              <a:rPr lang="pt-PT" sz="4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 Green </a:t>
            </a:r>
            <a:r>
              <a:rPr lang="pt-PT" sz="40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eelawadee UI Semilight" panose="020B0402040204020203" pitchFamily="34" charset="-34"/>
                <a:cs typeface="Leelawadee UI Semilight" panose="020B0402040204020203" pitchFamily="34" charset="-34"/>
              </a:rPr>
              <a:t>Valley</a:t>
            </a:r>
            <a:endParaRPr lang="pt-PT" sz="40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eelawadee UI Semilight" panose="020B0402040204020203" pitchFamily="34" charset="-34"/>
              <a:cs typeface="Leelawadee UI Semilight" panose="020B0402040204020203" pitchFamily="34" charset="-34"/>
            </a:endParaRPr>
          </a:p>
        </p:txBody>
      </p:sp>
      <p:pic>
        <p:nvPicPr>
          <p:cNvPr id="15" name="Picture 14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0"/>
          <a:stretch/>
        </p:blipFill>
        <p:spPr bwMode="auto">
          <a:xfrm>
            <a:off x="7201202" y="2982742"/>
            <a:ext cx="8666328" cy="600550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</p:pic>
      <p:sp>
        <p:nvSpPr>
          <p:cNvPr id="16" name="Oval 4">
            <a:extLst>
              <a:ext uri="{FF2B5EF4-FFF2-40B4-BE49-F238E27FC236}">
                <a16:creationId xmlns:a16="http://schemas.microsoft.com/office/drawing/2014/main" id="{BB18DEE4-EC09-4156-A890-4A59AA4B29BA}"/>
              </a:ext>
            </a:extLst>
          </p:cNvPr>
          <p:cNvSpPr txBox="1"/>
          <p:nvPr/>
        </p:nvSpPr>
        <p:spPr>
          <a:xfrm>
            <a:off x="7347867" y="3101298"/>
            <a:ext cx="1044000" cy="1044000"/>
          </a:xfrm>
          <a:prstGeom prst="rect">
            <a:avLst/>
          </a:prstGeom>
          <a:solidFill>
            <a:srgbClr val="00A883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pt-PT" sz="2000" b="1" kern="0" dirty="0">
                <a:solidFill>
                  <a:srgbClr val="FFFFFF"/>
                </a:solidFill>
                <a:cs typeface="Rubik" panose="00000500000000000000" pitchFamily="2" charset="-79"/>
              </a:rPr>
              <a:t>9,1 km</a:t>
            </a:r>
          </a:p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pt-PT" sz="1600" kern="0" dirty="0">
                <a:solidFill>
                  <a:srgbClr val="FFFFFF"/>
                </a:solidFill>
                <a:cs typeface="Rubik" panose="00000500000000000000" pitchFamily="2" charset="-79"/>
              </a:rPr>
              <a:t>Fase 1</a:t>
            </a:r>
          </a:p>
        </p:txBody>
      </p:sp>
      <p:sp>
        <p:nvSpPr>
          <p:cNvPr id="17" name="Oval 4">
            <a:extLst>
              <a:ext uri="{FF2B5EF4-FFF2-40B4-BE49-F238E27FC236}">
                <a16:creationId xmlns:a16="http://schemas.microsoft.com/office/drawing/2014/main" id="{BB18DEE4-EC09-4156-A890-4A59AA4B29BA}"/>
              </a:ext>
            </a:extLst>
          </p:cNvPr>
          <p:cNvSpPr txBox="1"/>
          <p:nvPr/>
        </p:nvSpPr>
        <p:spPr>
          <a:xfrm>
            <a:off x="14664656" y="3169537"/>
            <a:ext cx="1044000" cy="1044000"/>
          </a:xfrm>
          <a:prstGeom prst="rect">
            <a:avLst/>
          </a:prstGeom>
          <a:solidFill>
            <a:srgbClr val="00A883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pt-PT" sz="2000" b="1" kern="0" dirty="0">
                <a:solidFill>
                  <a:srgbClr val="FFFFFF"/>
                </a:solidFill>
                <a:cs typeface="Rubik" panose="00000500000000000000" pitchFamily="2" charset="-79"/>
              </a:rPr>
              <a:t>17,2 km</a:t>
            </a:r>
            <a:r>
              <a:rPr lang="pt-PT" sz="2000" kern="0" baseline="30000" dirty="0">
                <a:solidFill>
                  <a:srgbClr val="FFFFFF"/>
                </a:solidFill>
                <a:cs typeface="Rubik" panose="00000500000000000000" pitchFamily="2" charset="-79"/>
              </a:rPr>
              <a:t>1</a:t>
            </a:r>
          </a:p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pt-PT" sz="1600" kern="0" dirty="0">
                <a:solidFill>
                  <a:srgbClr val="FFFFFF"/>
                </a:solidFill>
                <a:cs typeface="Rubik" panose="00000500000000000000" pitchFamily="2" charset="-79"/>
              </a:rPr>
              <a:t>Fase 2</a:t>
            </a:r>
            <a:endParaRPr lang="pt-PT" sz="1600" kern="0" baseline="30000" dirty="0">
              <a:solidFill>
                <a:srgbClr val="FFFFFF"/>
              </a:solidFill>
              <a:cs typeface="Rubik" panose="00000500000000000000" pitchFamily="2" charset="-79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4"/>
          <a:srcRect l="50908"/>
          <a:stretch/>
        </p:blipFill>
        <p:spPr bwMode="auto">
          <a:xfrm>
            <a:off x="14188663" y="5415669"/>
            <a:ext cx="2822960" cy="1584048"/>
          </a:xfrm>
          <a:prstGeom prst="rect">
            <a:avLst/>
          </a:prstGeom>
          <a:ln>
            <a:solidFill>
              <a:srgbClr val="FFFFFF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9" name="Rectangle 18"/>
          <p:cNvSpPr/>
          <p:nvPr/>
        </p:nvSpPr>
        <p:spPr>
          <a:xfrm>
            <a:off x="7347867" y="9118865"/>
            <a:ext cx="8519663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/>
            <a:r>
              <a:rPr lang="pt-PT" sz="1300" b="1" i="1" dirty="0">
                <a:cs typeface="Rubik" panose="00000500000000000000" pitchFamily="2" charset="-79"/>
              </a:rPr>
              <a:t>Notas: </a:t>
            </a:r>
          </a:p>
          <a:p>
            <a:pPr algn="just" defTabSz="914400"/>
            <a:r>
              <a:rPr lang="pt-PT" sz="1300" i="1" dirty="0">
                <a:cs typeface="Rubik" panose="00000500000000000000" pitchFamily="2" charset="-79"/>
              </a:rPr>
              <a:t>1. Extensão total da infraestrutura no final da Fase 2</a:t>
            </a:r>
          </a:p>
          <a:p>
            <a:pPr algn="just" defTabSz="914400"/>
            <a:endParaRPr lang="pt-PT" sz="1300" i="1" dirty="0">
              <a:cs typeface="Rubik" panose="00000500000000000000" pitchFamily="2" charset="-79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969416" y="2951746"/>
            <a:ext cx="6101891" cy="1456533"/>
          </a:xfrm>
          <a:prstGeom prst="rect">
            <a:avLst/>
          </a:prstGeom>
          <a:solidFill>
            <a:srgbClr val="1C85BA">
              <a:alpha val="85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3538" indent="-204788">
              <a:buFont typeface="Arial" panose="020B0604020202020204" pitchFamily="34" charset="0"/>
              <a:buChar char="•"/>
            </a:pPr>
            <a:r>
              <a:rPr lang="pt-PT" sz="2000" b="1" dirty="0">
                <a:solidFill>
                  <a:srgbClr val="FFFFFF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andidatura ao PRR </a:t>
            </a:r>
            <a:r>
              <a:rPr lang="pt-PT" sz="2000" dirty="0">
                <a:solidFill>
                  <a:srgbClr val="FFFFFF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m o objetivo de criar o </a:t>
            </a:r>
            <a:r>
              <a:rPr lang="pt-PT" sz="2000" b="1" dirty="0">
                <a:solidFill>
                  <a:srgbClr val="FFFFFF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rimeiro </a:t>
            </a:r>
            <a:r>
              <a:rPr lang="pt-PT" sz="2000" b="1" dirty="0" err="1">
                <a:solidFill>
                  <a:srgbClr val="FFFFFF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Hub</a:t>
            </a:r>
            <a:r>
              <a:rPr lang="pt-PT" sz="2000" b="1" dirty="0">
                <a:solidFill>
                  <a:srgbClr val="FFFFFF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 nacional de Hidrogénio verde em Sines de acesso livre </a:t>
            </a:r>
            <a:r>
              <a:rPr lang="pt-PT" sz="2000" dirty="0">
                <a:solidFill>
                  <a:srgbClr val="FFFFFF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(produção e consumo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29583" y="4417022"/>
            <a:ext cx="58516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u="sng" dirty="0">
                <a:latin typeface="Leelawadee" panose="020B0502040204020203" pitchFamily="34" charset="-34"/>
                <a:cs typeface="Leelawadee" panose="020B0502040204020203" pitchFamily="34" charset="-34"/>
              </a:rPr>
              <a:t>Fase 1: Até 2025 (apoio PRR)</a:t>
            </a:r>
          </a:p>
        </p:txBody>
      </p:sp>
      <p:sp>
        <p:nvSpPr>
          <p:cNvPr id="21" name="Rectangle 20"/>
          <p:cNvSpPr/>
          <p:nvPr/>
        </p:nvSpPr>
        <p:spPr>
          <a:xfrm>
            <a:off x="969417" y="4909903"/>
            <a:ext cx="6070450" cy="145653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3538" indent="-204788">
              <a:buFont typeface="Arial" panose="020B0604020202020204" pitchFamily="34" charset="0"/>
              <a:buChar char="•"/>
            </a:pPr>
            <a:r>
              <a:rPr lang="pt-PT" sz="2000" dirty="0">
                <a:solidFill>
                  <a:schemeClr val="tx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9,1 km gasoduto para abastecimento à refinaria e ligação à RNTG</a:t>
            </a:r>
          </a:p>
          <a:p>
            <a:pPr marL="363538" indent="-204788">
              <a:buFont typeface="Arial" panose="020B0604020202020204" pitchFamily="34" charset="0"/>
              <a:buChar char="•"/>
            </a:pPr>
            <a:r>
              <a:rPr lang="pt-PT" sz="2000" dirty="0">
                <a:solidFill>
                  <a:schemeClr val="tx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stação de mistura e injeção na RNTG e de compressão 30/100 ba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089749" y="6483665"/>
            <a:ext cx="58516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u="sng" dirty="0">
                <a:latin typeface="Leelawadee" panose="020B0502040204020203" pitchFamily="34" charset="-34"/>
                <a:cs typeface="Leelawadee" panose="020B0502040204020203" pitchFamily="34" charset="-34"/>
              </a:rPr>
              <a:t>Fase 2: Horizonte sujeito às necessidade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29583" y="6976546"/>
            <a:ext cx="6070450" cy="1456533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3538" indent="-204788">
              <a:buFont typeface="Arial" panose="020B0604020202020204" pitchFamily="34" charset="0"/>
              <a:buChar char="•"/>
            </a:pPr>
            <a:r>
              <a:rPr lang="pt-PT" sz="2000" dirty="0">
                <a:solidFill>
                  <a:schemeClr val="tx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17,2 km gasoduto</a:t>
            </a:r>
          </a:p>
          <a:p>
            <a:pPr marL="363538" indent="-204788">
              <a:buFont typeface="Arial" panose="020B0604020202020204" pitchFamily="34" charset="0"/>
              <a:buChar char="•"/>
            </a:pPr>
            <a:r>
              <a:rPr lang="pt-PT" sz="2000" dirty="0">
                <a:solidFill>
                  <a:schemeClr val="tx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istema de armazenamento dedicado para gerir variabilidade do H</a:t>
            </a:r>
            <a:r>
              <a:rPr lang="pt-PT" sz="2000" baseline="-25000" dirty="0">
                <a:solidFill>
                  <a:schemeClr val="tx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  <a:r>
              <a:rPr lang="pt-PT" sz="2000" dirty="0">
                <a:solidFill>
                  <a:schemeClr val="tx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00858" y="8570561"/>
            <a:ext cx="6070450" cy="976394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750" algn="ctr"/>
            <a:r>
              <a:rPr lang="pt-PT" sz="2200" b="1" dirty="0">
                <a:solidFill>
                  <a:srgbClr val="FFFFFF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fraestrutura escalável com capacidade para transportar até 2GW de H</a:t>
            </a:r>
            <a:r>
              <a:rPr lang="pt-PT" sz="2200" b="1" baseline="-25000" dirty="0">
                <a:solidFill>
                  <a:srgbClr val="FFFFFF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  <a:endParaRPr lang="en-US" sz="2200" baseline="-25000" dirty="0">
              <a:solidFill>
                <a:srgbClr val="FFFFFF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0123565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Posição do Texto 10"/>
          <p:cNvSpPr>
            <a:spLocks noGrp="1"/>
          </p:cNvSpPr>
          <p:nvPr>
            <p:ph type="body" sz="quarter" idx="10"/>
          </p:nvPr>
        </p:nvSpPr>
        <p:spPr>
          <a:xfrm>
            <a:off x="2018757" y="1043288"/>
            <a:ext cx="12749101" cy="776979"/>
          </a:xfrm>
        </p:spPr>
        <p:txBody>
          <a:bodyPr>
            <a:normAutofit/>
          </a:bodyPr>
          <a:lstStyle/>
          <a:p>
            <a:r>
              <a:rPr lang="pt-PT" dirty="0"/>
              <a:t>Integração de novos gases nas infraestruturas</a:t>
            </a:r>
          </a:p>
        </p:txBody>
      </p:sp>
      <p:sp>
        <p:nvSpPr>
          <p:cNvPr id="12" name="Marcador de Posição do Texto 11"/>
          <p:cNvSpPr>
            <a:spLocks noGrp="1"/>
          </p:cNvSpPr>
          <p:nvPr>
            <p:ph type="body" sz="quarter" idx="11"/>
          </p:nvPr>
        </p:nvSpPr>
        <p:spPr>
          <a:xfrm>
            <a:off x="2018758" y="1659718"/>
            <a:ext cx="11065229" cy="393700"/>
          </a:xfrm>
        </p:spPr>
        <p:txBody>
          <a:bodyPr>
            <a:normAutofit lnSpcReduction="10000"/>
          </a:bodyPr>
          <a:lstStyle/>
          <a:p>
            <a:r>
              <a:rPr lang="pt-PT" dirty="0">
                <a:solidFill>
                  <a:srgbClr val="00A883"/>
                </a:solidFill>
              </a:rPr>
              <a:t>A agenda da REN</a:t>
            </a:r>
          </a:p>
        </p:txBody>
      </p:sp>
      <p:sp>
        <p:nvSpPr>
          <p:cNvPr id="7" name="Oval 4">
            <a:extLst>
              <a:ext uri="{FF2B5EF4-FFF2-40B4-BE49-F238E27FC236}">
                <a16:creationId xmlns:a16="http://schemas.microsoft.com/office/drawing/2014/main" id="{BB18DEE4-EC09-4156-A890-4A59AA4B29BA}"/>
              </a:ext>
            </a:extLst>
          </p:cNvPr>
          <p:cNvSpPr txBox="1"/>
          <p:nvPr/>
        </p:nvSpPr>
        <p:spPr>
          <a:xfrm>
            <a:off x="969417" y="1149164"/>
            <a:ext cx="936608" cy="895627"/>
          </a:xfrm>
          <a:prstGeom prst="rect">
            <a:avLst/>
          </a:prstGeom>
          <a:solidFill>
            <a:srgbClr val="0F2E85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marL="0" marR="0" lvl="0" indent="0" algn="ctr" defTabSz="4445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1" i="0" u="none" strike="noStrike" kern="0" cap="none" spc="0" normalizeH="0" baseline="0" noProof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LnTx/>
                <a:uFillTx/>
                <a:latin typeface="Calibri"/>
                <a:ea typeface="+mn-ea"/>
                <a:cs typeface="Rubik" panose="00000500000000000000" pitchFamily="2" charset="-79"/>
              </a:rPr>
              <a:t>8</a:t>
            </a:r>
            <a:endParaRPr kumimoji="0" lang="pt-PT" sz="1400" b="1" i="0" u="none" strike="noStrike" kern="0" cap="none" spc="0" normalizeH="0" baseline="0" noProof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LnTx/>
              <a:uFillTx/>
              <a:latin typeface="Calibri"/>
              <a:ea typeface="+mn-ea"/>
              <a:cs typeface="Rubik" panose="00000500000000000000" pitchFamily="2" charset="-79"/>
            </a:endParaRPr>
          </a:p>
        </p:txBody>
      </p:sp>
      <p:pic>
        <p:nvPicPr>
          <p:cNvPr id="6" name="Picture 2" descr="Study: Supermajors Remain Pressured Despite Cost Efficiency Gains | Hart  Energy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18"/>
          <a:stretch/>
        </p:blipFill>
        <p:spPr bwMode="auto">
          <a:xfrm>
            <a:off x="969417" y="2467101"/>
            <a:ext cx="3189628" cy="2054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6 Tips to Make Your Company More Scalable | Inc.co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417" y="4737701"/>
            <a:ext cx="3189629" cy="2053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Hydrogen 'guarantee of origin' scheme trials in Australi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418" y="7008952"/>
            <a:ext cx="3189628" cy="205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Marcador de Posição do Texto 11"/>
          <p:cNvSpPr>
            <a:spLocks noGrp="1"/>
          </p:cNvSpPr>
          <p:nvPr>
            <p:ph type="body" sz="quarter" idx="11"/>
          </p:nvPr>
        </p:nvSpPr>
        <p:spPr>
          <a:xfrm>
            <a:off x="4391042" y="2467100"/>
            <a:ext cx="11918033" cy="2054089"/>
          </a:xfr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pt-PT" sz="2000" b="0" dirty="0">
                <a:solidFill>
                  <a:srgbClr val="FFFFFF"/>
                </a:solidFill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Acomodar os desenvolvimentos da rede elétrica para o crescimento das fontes renováveis de energia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pt-PT" sz="2000" b="0" dirty="0">
                <a:solidFill>
                  <a:srgbClr val="FFFFFF"/>
                </a:solidFill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Adaptar as atuais infraestruturas de transmissão, armazenamento e distribuição para acomodar misturas de gás natural e hidrogénio, potenciando o desenvolvimento de gases de origem renovável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pt-PT" sz="2000" b="0" dirty="0">
                <a:solidFill>
                  <a:srgbClr val="FFFFFF"/>
                </a:solidFill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Desenvolver e otimizar soluções de infraestrutura para integrar produtores e consumidores na cadeia de valor do hidrogénio 100% renovável</a:t>
            </a:r>
            <a:endParaRPr lang="en-US" sz="2000" b="0" dirty="0">
              <a:solidFill>
                <a:srgbClr val="FFFFFF"/>
              </a:solidFill>
              <a:latin typeface="Leelawadee UI Semilight" panose="020B0402040204020203" pitchFamily="34" charset="-34"/>
              <a:ea typeface="+mn-ea"/>
              <a:cs typeface="Leelawadee UI Semilight" panose="020B0402040204020203" pitchFamily="34" charset="-34"/>
            </a:endParaRPr>
          </a:p>
        </p:txBody>
      </p:sp>
      <p:sp>
        <p:nvSpPr>
          <p:cNvPr id="13" name="Marcador de Posição do Texto 11"/>
          <p:cNvSpPr>
            <a:spLocks noGrp="1"/>
          </p:cNvSpPr>
          <p:nvPr>
            <p:ph type="body" sz="quarter" idx="11"/>
          </p:nvPr>
        </p:nvSpPr>
        <p:spPr>
          <a:xfrm>
            <a:off x="4391042" y="4737701"/>
            <a:ext cx="11918033" cy="2053437"/>
          </a:xfr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pt-PT" sz="2000" b="0" dirty="0">
                <a:solidFill>
                  <a:srgbClr val="FFFFFF"/>
                </a:solidFill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Potenciar a infraestrutura de gás atual para receber Hidrogénio verde (transporte e distribuição), garantindo condições de segurança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pt-PT" sz="2000" b="0" dirty="0">
                <a:solidFill>
                  <a:srgbClr val="FFFFFF"/>
                </a:solidFill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Otimizar os custos de infraestrutura e acomodação da produção de origem renovável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pt-PT" sz="2000" b="0" dirty="0">
                <a:solidFill>
                  <a:srgbClr val="FFFFFF"/>
                </a:solidFill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Minimizar o impacto ambiental do ciclo de vida da exploração dos ativos</a:t>
            </a:r>
            <a:endParaRPr lang="en-US" sz="2000" b="0" dirty="0">
              <a:solidFill>
                <a:srgbClr val="FFFFFF"/>
              </a:solidFill>
              <a:latin typeface="Leelawadee UI Semilight" panose="020B0402040204020203" pitchFamily="34" charset="-34"/>
              <a:ea typeface="+mn-ea"/>
              <a:cs typeface="Leelawadee UI Semilight" panose="020B0402040204020203" pitchFamily="34" charset="-34"/>
            </a:endParaRPr>
          </a:p>
        </p:txBody>
      </p:sp>
      <p:sp>
        <p:nvSpPr>
          <p:cNvPr id="14" name="Marcador de Posição do Texto 11"/>
          <p:cNvSpPr>
            <a:spLocks noGrp="1"/>
          </p:cNvSpPr>
          <p:nvPr>
            <p:ph type="body" sz="quarter" idx="11"/>
          </p:nvPr>
        </p:nvSpPr>
        <p:spPr>
          <a:xfrm>
            <a:off x="4391042" y="7008952"/>
            <a:ext cx="11918033" cy="2053437"/>
          </a:xfrm>
          <a:solidFill>
            <a:srgbClr val="1C85BA">
              <a:alpha val="8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pt-PT" sz="2000" b="0" dirty="0">
                <a:solidFill>
                  <a:srgbClr val="FFFFFF"/>
                </a:solidFill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Assegurar um sistema de supervisão e controlo adequado para o Sistema Nacional de Gás e para as infraestruturas de Hidrogénio 100% verdes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pt-PT" sz="2000" b="0" dirty="0">
                <a:solidFill>
                  <a:srgbClr val="FFFFFF"/>
                </a:solidFill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Garantir a Gestão Nacional do Sistema de Gás, assegurando o equilíbrio da energia veiculada</a:t>
            </a:r>
          </a:p>
          <a:p>
            <a:pPr marL="342900" indent="-342900" defTabSz="457200">
              <a:buFont typeface="Arial" panose="020B0604020202020204" pitchFamily="34" charset="0"/>
              <a:buChar char="•"/>
            </a:pPr>
            <a:r>
              <a:rPr lang="pt-PT" sz="2000" b="0" dirty="0">
                <a:solidFill>
                  <a:srgbClr val="FFFFFF"/>
                </a:solidFill>
                <a:latin typeface="Leelawadee UI Semilight" panose="020B0402040204020203" pitchFamily="34" charset="-34"/>
                <a:ea typeface="+mn-ea"/>
                <a:cs typeface="Leelawadee UI Semilight" panose="020B0402040204020203" pitchFamily="34" charset="-34"/>
              </a:rPr>
              <a:t>Garantir o controlo de qualidade para os consumidores</a:t>
            </a:r>
            <a:endParaRPr lang="en-US" sz="2000" b="0" dirty="0">
              <a:solidFill>
                <a:srgbClr val="FFFFFF"/>
              </a:solidFill>
              <a:latin typeface="Leelawadee UI Semilight" panose="020B0402040204020203" pitchFamily="34" charset="-34"/>
              <a:ea typeface="+mn-ea"/>
              <a:cs typeface="Leelawadee UI Semilight" panose="020B04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6686364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Master">
  <a:themeElements>
    <a:clrScheme name="SYNC">
      <a:dk1>
        <a:srgbClr val="4B4B4B"/>
      </a:dk1>
      <a:lt1>
        <a:srgbClr val="E6E6E6"/>
      </a:lt1>
      <a:dk2>
        <a:srgbClr val="5F5F5F"/>
      </a:dk2>
      <a:lt2>
        <a:srgbClr val="E7E6E6"/>
      </a:lt2>
      <a:accent1>
        <a:srgbClr val="37788C"/>
      </a:accent1>
      <a:accent2>
        <a:srgbClr val="28BFF0"/>
      </a:accent2>
      <a:accent3>
        <a:srgbClr val="47C1C9"/>
      </a:accent3>
      <a:accent4>
        <a:srgbClr val="4BB491"/>
      </a:accent4>
      <a:accent5>
        <a:srgbClr val="99D7C2"/>
      </a:accent5>
      <a:accent6>
        <a:srgbClr val="B0B0B0"/>
      </a:accent6>
      <a:hlink>
        <a:srgbClr val="47C1C9"/>
      </a:hlink>
      <a:folHlink>
        <a:srgbClr val="888888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lide Master">
  <a:themeElements>
    <a:clrScheme name="SYNC">
      <a:dk1>
        <a:srgbClr val="4B4B4B"/>
      </a:dk1>
      <a:lt1>
        <a:srgbClr val="E6E6E6"/>
      </a:lt1>
      <a:dk2>
        <a:srgbClr val="5F5F5F"/>
      </a:dk2>
      <a:lt2>
        <a:srgbClr val="E7E6E6"/>
      </a:lt2>
      <a:accent1>
        <a:srgbClr val="37788C"/>
      </a:accent1>
      <a:accent2>
        <a:srgbClr val="28BFF0"/>
      </a:accent2>
      <a:accent3>
        <a:srgbClr val="47C1C9"/>
      </a:accent3>
      <a:accent4>
        <a:srgbClr val="4BB491"/>
      </a:accent4>
      <a:accent5>
        <a:srgbClr val="99D7C2"/>
      </a:accent5>
      <a:accent6>
        <a:srgbClr val="B0B0B0"/>
      </a:accent6>
      <a:hlink>
        <a:srgbClr val="47C1C9"/>
      </a:hlink>
      <a:folHlink>
        <a:srgbClr val="888888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C5DDB5F9207C449C35E79890F22DA5" ma:contentTypeVersion="14" ma:contentTypeDescription="Create a new document." ma:contentTypeScope="" ma:versionID="58a1954ade9a0a53f3272e56bf2def29">
  <xsd:schema xmlns:xsd="http://www.w3.org/2001/XMLSchema" xmlns:xs="http://www.w3.org/2001/XMLSchema" xmlns:p="http://schemas.microsoft.com/office/2006/metadata/properties" xmlns:ns3="46a266ba-af6a-4538-9151-b7eb26064f4d" xmlns:ns4="9765a140-04ae-459b-8d0b-7642ba53cb56" targetNamespace="http://schemas.microsoft.com/office/2006/metadata/properties" ma:root="true" ma:fieldsID="f2433d54fbb42ddf303fac6ed4b25e62" ns3:_="" ns4:_="">
    <xsd:import namespace="46a266ba-af6a-4538-9151-b7eb26064f4d"/>
    <xsd:import namespace="9765a140-04ae-459b-8d0b-7642ba53cb5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266ba-af6a-4538-9151-b7eb26064f4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65a140-04ae-459b-8d0b-7642ba53cb56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EC0C3FB-35E3-461D-9388-4E59F258EE39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9765a140-04ae-459b-8d0b-7642ba53cb56"/>
    <ds:schemaRef ds:uri="46a266ba-af6a-4538-9151-b7eb26064f4d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944596B-CC56-46D3-829F-A7D39A3E34F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494176E-DAFF-4AD6-BA97-ACA3AE922E4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6a266ba-af6a-4538-9151-b7eb26064f4d"/>
    <ds:schemaRef ds:uri="9765a140-04ae-459b-8d0b-7642ba53cb5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765</TotalTime>
  <Words>905</Words>
  <Application>Microsoft Office PowerPoint</Application>
  <PresentationFormat>Personalizados</PresentationFormat>
  <Paragraphs>131</Paragraphs>
  <Slides>10</Slides>
  <Notes>5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9</vt:i4>
      </vt:variant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10</vt:i4>
      </vt:variant>
    </vt:vector>
  </HeadingPairs>
  <TitlesOfParts>
    <vt:vector size="22" baseType="lpstr">
      <vt:lpstr>Arial</vt:lpstr>
      <vt:lpstr>Bariol Serif</vt:lpstr>
      <vt:lpstr>Bariol Serif Light</vt:lpstr>
      <vt:lpstr>Calibri</vt:lpstr>
      <vt:lpstr>Gotham Rounded</vt:lpstr>
      <vt:lpstr>Leelawadee</vt:lpstr>
      <vt:lpstr>Leelawadee UI</vt:lpstr>
      <vt:lpstr>Leelawadee UI Semilight</vt:lpstr>
      <vt:lpstr>Rubik</vt:lpstr>
      <vt:lpstr>Slide Master</vt:lpstr>
      <vt:lpstr>1_Slide Master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Utilizador</cp:lastModifiedBy>
  <cp:revision>238</cp:revision>
  <dcterms:created xsi:type="dcterms:W3CDTF">2017-04-20T10:56:02Z</dcterms:created>
  <dcterms:modified xsi:type="dcterms:W3CDTF">2022-06-28T16:5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C5DDB5F9207C449C35E79890F22DA5</vt:lpwstr>
  </property>
</Properties>
</file>